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7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8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9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0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11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2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13.xml" ContentType="application/vnd.openxmlformats-officedocument.theme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1"/>
    <p:sldMasterId id="2147483728" r:id="rId2"/>
    <p:sldMasterId id="2147483757" r:id="rId3"/>
    <p:sldMasterId id="2147483763" r:id="rId4"/>
    <p:sldMasterId id="2147483770" r:id="rId5"/>
    <p:sldMasterId id="2147483782" r:id="rId6"/>
    <p:sldMasterId id="2147483794" r:id="rId7"/>
    <p:sldMasterId id="2147483806" r:id="rId8"/>
    <p:sldMasterId id="2147483819" r:id="rId9"/>
    <p:sldMasterId id="2147483832" r:id="rId10"/>
    <p:sldMasterId id="2147483845" r:id="rId11"/>
    <p:sldMasterId id="2147483859" r:id="rId12"/>
    <p:sldMasterId id="2147483871" r:id="rId13"/>
    <p:sldMasterId id="2147483883" r:id="rId14"/>
  </p:sldMasterIdLst>
  <p:notesMasterIdLst>
    <p:notesMasterId r:id="rId48"/>
  </p:notesMasterIdLst>
  <p:handoutMasterIdLst>
    <p:handoutMasterId r:id="rId49"/>
  </p:handoutMasterIdLst>
  <p:sldIdLst>
    <p:sldId id="962" r:id="rId15"/>
    <p:sldId id="975" r:id="rId16"/>
    <p:sldId id="976" r:id="rId17"/>
    <p:sldId id="977" r:id="rId18"/>
    <p:sldId id="978" r:id="rId19"/>
    <p:sldId id="979" r:id="rId20"/>
    <p:sldId id="980" r:id="rId21"/>
    <p:sldId id="981" r:id="rId22"/>
    <p:sldId id="982" r:id="rId23"/>
    <p:sldId id="983" r:id="rId24"/>
    <p:sldId id="984" r:id="rId25"/>
    <p:sldId id="985" r:id="rId26"/>
    <p:sldId id="987" r:id="rId27"/>
    <p:sldId id="988" r:id="rId28"/>
    <p:sldId id="990" r:id="rId29"/>
    <p:sldId id="991" r:id="rId30"/>
    <p:sldId id="992" r:id="rId31"/>
    <p:sldId id="989" r:id="rId32"/>
    <p:sldId id="993" r:id="rId33"/>
    <p:sldId id="994" r:id="rId34"/>
    <p:sldId id="995" r:id="rId35"/>
    <p:sldId id="996" r:id="rId36"/>
    <p:sldId id="997" r:id="rId37"/>
    <p:sldId id="998" r:id="rId38"/>
    <p:sldId id="999" r:id="rId39"/>
    <p:sldId id="1000" r:id="rId40"/>
    <p:sldId id="1001" r:id="rId41"/>
    <p:sldId id="1002" r:id="rId42"/>
    <p:sldId id="1003" r:id="rId43"/>
    <p:sldId id="1004" r:id="rId44"/>
    <p:sldId id="1005" r:id="rId45"/>
    <p:sldId id="1006" r:id="rId46"/>
    <p:sldId id="960" r:id="rId47"/>
  </p:sldIdLst>
  <p:sldSz cx="9906000" cy="6858000" type="A4"/>
  <p:notesSz cx="6797675" cy="9928225"/>
  <p:defaultTextStyle>
    <a:defPPr>
      <a:defRPr lang="ru-RU"/>
    </a:defPPr>
    <a:lvl1pPr marL="0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1pPr>
    <a:lvl2pPr marL="478912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2pPr>
    <a:lvl3pPr marL="957824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3pPr>
    <a:lvl4pPr marL="1436736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4pPr>
    <a:lvl5pPr marL="1915648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5pPr>
    <a:lvl6pPr marL="2394560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6pPr>
    <a:lvl7pPr marL="2873472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7pPr>
    <a:lvl8pPr marL="3352384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8pPr>
    <a:lvl9pPr marL="3831296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90" userDrawn="1">
          <p15:clr>
            <a:srgbClr val="A4A3A4"/>
          </p15:clr>
        </p15:guide>
        <p15:guide id="2" orient="horz" pos="2332" userDrawn="1">
          <p15:clr>
            <a:srgbClr val="A4A3A4"/>
          </p15:clr>
        </p15:guide>
        <p15:guide id="3" pos="337" userDrawn="1">
          <p15:clr>
            <a:srgbClr val="A4A3A4"/>
          </p15:clr>
        </p15:guide>
        <p15:guide id="4" pos="3120" userDrawn="1">
          <p15:clr>
            <a:srgbClr val="A4A3A4"/>
          </p15:clr>
        </p15:guide>
        <p15:guide id="5" pos="4033" userDrawn="1">
          <p15:clr>
            <a:srgbClr val="A4A3A4"/>
          </p15:clr>
        </p15:guide>
        <p15:guide id="6" pos="2468" userDrawn="1">
          <p15:clr>
            <a:srgbClr val="A4A3A4"/>
          </p15:clr>
        </p15:guide>
        <p15:guide id="7" pos="3293" userDrawn="1">
          <p15:clr>
            <a:srgbClr val="A4A3A4"/>
          </p15:clr>
        </p15:guide>
        <p15:guide id="8" pos="5932" userDrawn="1">
          <p15:clr>
            <a:srgbClr val="A4A3A4"/>
          </p15:clr>
        </p15:guide>
        <p15:guide id="9" pos="5859" userDrawn="1">
          <p15:clr>
            <a:srgbClr val="A4A3A4"/>
          </p15:clr>
        </p15:guide>
        <p15:guide id="10" pos="2802" userDrawn="1">
          <p15:clr>
            <a:srgbClr val="A4A3A4"/>
          </p15:clr>
        </p15:guide>
        <p15:guide id="11" pos="351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Olesya" initials="O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FBFB"/>
    <a:srgbClr val="CCF6F6"/>
    <a:srgbClr val="FAFAFA"/>
    <a:srgbClr val="D9D9D9"/>
    <a:srgbClr val="131008"/>
    <a:srgbClr val="76B531"/>
    <a:srgbClr val="537F23"/>
    <a:srgbClr val="7D71A3"/>
    <a:srgbClr val="52B9E1"/>
    <a:srgbClr val="467D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22776" autoAdjust="0"/>
    <p:restoredTop sz="94194" autoAdjust="0"/>
  </p:normalViewPr>
  <p:slideViewPr>
    <p:cSldViewPr>
      <p:cViewPr varScale="1">
        <p:scale>
          <a:sx n="86" d="100"/>
          <a:sy n="86" d="100"/>
        </p:scale>
        <p:origin x="702" y="84"/>
      </p:cViewPr>
      <p:guideLst>
        <p:guide orient="horz" pos="4190"/>
        <p:guide orient="horz" pos="2332"/>
        <p:guide pos="337"/>
        <p:guide pos="3120"/>
        <p:guide pos="4033"/>
        <p:guide pos="2468"/>
        <p:guide pos="3293"/>
        <p:guide pos="5932"/>
        <p:guide pos="5859"/>
        <p:guide pos="2802"/>
        <p:guide pos="35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1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slide" Target="slides/slide25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slide" Target="slides/slide28.xml"/><Relationship Id="rId47" Type="http://schemas.openxmlformats.org/officeDocument/2006/relationships/slide" Target="slides/slide33.xml"/><Relationship Id="rId50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9" Type="http://schemas.openxmlformats.org/officeDocument/2006/relationships/slide" Target="slides/slide15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53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slide" Target="slides/slide32.xml"/><Relationship Id="rId20" Type="http://schemas.openxmlformats.org/officeDocument/2006/relationships/slide" Target="slides/slide6.xml"/><Relationship Id="rId41" Type="http://schemas.openxmlformats.org/officeDocument/2006/relationships/slide" Target="slides/slide27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2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3EFE8F48-518E-45D7-8E2F-81EAFEDACB4B}" type="datetimeFigureOut">
              <a:rPr lang="ru-RU" smtClean="0"/>
              <a:pPr/>
              <a:t>29.11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2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D3D3AAB1-C1C3-40FB-A831-6BB6913BE0B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38272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116E73D2-0DB3-4D3F-BA46-2F6089FCDCA0}" type="datetimeFigureOut">
              <a:rPr lang="ru-RU" smtClean="0"/>
              <a:pPr/>
              <a:t>29.11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17" tIns="46058" rIns="92117" bIns="46058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117" tIns="46058" rIns="92117" bIns="46058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4AEBD501-1932-4DA5-A84C-37914F66083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214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1pPr>
    <a:lvl2pPr marL="437083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2pPr>
    <a:lvl3pPr marL="87416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3pPr>
    <a:lvl4pPr marL="1311250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4pPr>
    <a:lvl5pPr marL="1748333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5pPr>
    <a:lvl6pPr marL="218541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6pPr>
    <a:lvl7pPr marL="2622499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7pPr>
    <a:lvl8pPr marL="3059582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8pPr>
    <a:lvl9pPr marL="349666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11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4.emf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tags" Target="../tags/tag19.xml"/><Relationship Id="rId11" Type="http://schemas.openxmlformats.org/officeDocument/2006/relationships/image" Target="../media/image10.emf"/><Relationship Id="rId5" Type="http://schemas.openxmlformats.org/officeDocument/2006/relationships/tags" Target="../tags/tag18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7.xml"/><Relationship Id="rId9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oleObject" Target="../embeddings/oleObject4.bin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image" Target="../media/image9.png"/><Relationship Id="rId2" Type="http://schemas.openxmlformats.org/officeDocument/2006/relationships/tags" Target="../tags/tag22.xml"/><Relationship Id="rId16" Type="http://schemas.openxmlformats.org/officeDocument/2006/relationships/image" Target="../media/image8.emf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30.xml"/><Relationship Id="rId19" Type="http://schemas.openxmlformats.org/officeDocument/2006/relationships/image" Target="../media/image10.emf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image" Target="../media/image11.png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image" Target="../media/image4.emf"/><Relationship Id="rId2" Type="http://schemas.openxmlformats.org/officeDocument/2006/relationships/tags" Target="../tags/tag48.xml"/><Relationship Id="rId1" Type="http://schemas.openxmlformats.org/officeDocument/2006/relationships/vmlDrawing" Target="../drawings/vmlDrawing5.vml"/><Relationship Id="rId6" Type="http://schemas.openxmlformats.org/officeDocument/2006/relationships/tags" Target="../tags/tag52.xml"/><Relationship Id="rId11" Type="http://schemas.openxmlformats.org/officeDocument/2006/relationships/image" Target="../media/image10.emf"/><Relationship Id="rId5" Type="http://schemas.openxmlformats.org/officeDocument/2006/relationships/tags" Target="../tags/tag51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oleObject" Target="../embeddings/oleObject8.bin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image" Target="../media/image9.png"/><Relationship Id="rId2" Type="http://schemas.openxmlformats.org/officeDocument/2006/relationships/tags" Target="../tags/tag55.xml"/><Relationship Id="rId16" Type="http://schemas.openxmlformats.org/officeDocument/2006/relationships/image" Target="../media/image8.emf"/><Relationship Id="rId1" Type="http://schemas.openxmlformats.org/officeDocument/2006/relationships/vmlDrawing" Target="../drawings/vmlDrawing6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63.xml"/><Relationship Id="rId19" Type="http://schemas.openxmlformats.org/officeDocument/2006/relationships/image" Target="../media/image10.emf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04490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7" y="5310536"/>
            <a:ext cx="5943600" cy="566738"/>
          </a:xfrm>
        </p:spPr>
        <p:txBody>
          <a:bodyPr anchor="b"/>
          <a:lstStyle>
            <a:lvl1pPr algn="l">
              <a:defRPr sz="2095" b="1">
                <a:solidFill>
                  <a:schemeClr val="accent4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7" y="1124744"/>
            <a:ext cx="5943600" cy="4114800"/>
          </a:xfrm>
        </p:spPr>
        <p:txBody>
          <a:bodyPr/>
          <a:lstStyle>
            <a:lvl1pPr marL="0" indent="0">
              <a:buNone/>
              <a:defRPr sz="3333"/>
            </a:lvl1pPr>
            <a:lvl2pPr marL="477078" indent="0">
              <a:buNone/>
              <a:defRPr sz="2952"/>
            </a:lvl2pPr>
            <a:lvl3pPr marL="954155" indent="0">
              <a:buNone/>
              <a:defRPr sz="2476"/>
            </a:lvl3pPr>
            <a:lvl4pPr marL="1431234" indent="0">
              <a:buNone/>
              <a:defRPr sz="2095"/>
            </a:lvl4pPr>
            <a:lvl5pPr marL="1908311" indent="0">
              <a:buNone/>
              <a:defRPr sz="2095"/>
            </a:lvl5pPr>
            <a:lvl6pPr marL="2385390" indent="0">
              <a:buNone/>
              <a:defRPr sz="2095"/>
            </a:lvl6pPr>
            <a:lvl7pPr marL="2862468" indent="0">
              <a:buNone/>
              <a:defRPr sz="2095"/>
            </a:lvl7pPr>
            <a:lvl8pPr marL="3339546" indent="0">
              <a:buNone/>
              <a:defRPr sz="2095"/>
            </a:lvl8pPr>
            <a:lvl9pPr marL="3816624" indent="0">
              <a:buNone/>
              <a:defRPr sz="2095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7" y="5877274"/>
            <a:ext cx="5943600" cy="804862"/>
          </a:xfrm>
        </p:spPr>
        <p:txBody>
          <a:bodyPr/>
          <a:lstStyle>
            <a:lvl1pPr marL="0" indent="0">
              <a:buNone/>
              <a:defRPr sz="1429">
                <a:solidFill>
                  <a:schemeClr val="accent3"/>
                </a:solidFill>
              </a:defRPr>
            </a:lvl1pPr>
            <a:lvl2pPr marL="477078" indent="0">
              <a:buNone/>
              <a:defRPr sz="1238"/>
            </a:lvl2pPr>
            <a:lvl3pPr marL="954155" indent="0">
              <a:buNone/>
              <a:defRPr sz="1048"/>
            </a:lvl3pPr>
            <a:lvl4pPr marL="1431234" indent="0">
              <a:buNone/>
              <a:defRPr sz="952"/>
            </a:lvl4pPr>
            <a:lvl5pPr marL="1908311" indent="0">
              <a:buNone/>
              <a:defRPr sz="952"/>
            </a:lvl5pPr>
            <a:lvl6pPr marL="2385390" indent="0">
              <a:buNone/>
              <a:defRPr sz="952"/>
            </a:lvl6pPr>
            <a:lvl7pPr marL="2862468" indent="0">
              <a:buNone/>
              <a:defRPr sz="952"/>
            </a:lvl7pPr>
            <a:lvl8pPr marL="3339546" indent="0">
              <a:buNone/>
              <a:defRPr sz="952"/>
            </a:lvl8pPr>
            <a:lvl9pPr marL="3816624" indent="0">
              <a:buNone/>
              <a:defRPr sz="952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14CD46-22B1-45C2-860C-7CCDDFF9C9D5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934055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808074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1861506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111130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274191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1423279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925450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972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39" y="293690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51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53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63743450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87770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5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825" indent="0">
              <a:buNone/>
              <a:defRPr sz="1800"/>
            </a:lvl2pPr>
            <a:lvl3pPr marL="911651" indent="0">
              <a:buNone/>
              <a:defRPr sz="1600"/>
            </a:lvl3pPr>
            <a:lvl4pPr marL="1367481" indent="0">
              <a:buNone/>
              <a:defRPr sz="1400"/>
            </a:lvl4pPr>
            <a:lvl5pPr marL="1823316" indent="0">
              <a:buNone/>
              <a:defRPr sz="1400"/>
            </a:lvl5pPr>
            <a:lvl6pPr marL="2279151" indent="0">
              <a:buNone/>
              <a:defRPr sz="1400"/>
            </a:lvl6pPr>
            <a:lvl7pPr marL="2734982" indent="0">
              <a:buNone/>
              <a:defRPr sz="1400"/>
            </a:lvl7pPr>
            <a:lvl8pPr marL="3190813" indent="0">
              <a:buNone/>
              <a:defRPr sz="1400"/>
            </a:lvl8pPr>
            <a:lvl9pPr marL="3646644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027440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E5E621-2423-45DF-8B26-56147C111484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655211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1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24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480596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5" indent="0">
              <a:buNone/>
              <a:defRPr sz="2000" b="1"/>
            </a:lvl2pPr>
            <a:lvl3pPr marL="911651" indent="0">
              <a:buNone/>
              <a:defRPr sz="1800" b="1"/>
            </a:lvl3pPr>
            <a:lvl4pPr marL="1367481" indent="0">
              <a:buNone/>
              <a:defRPr sz="1600" b="1"/>
            </a:lvl4pPr>
            <a:lvl5pPr marL="1823316" indent="0">
              <a:buNone/>
              <a:defRPr sz="1600" b="1"/>
            </a:lvl5pPr>
            <a:lvl6pPr marL="2279151" indent="0">
              <a:buNone/>
              <a:defRPr sz="1600" b="1"/>
            </a:lvl6pPr>
            <a:lvl7pPr marL="2734982" indent="0">
              <a:buNone/>
              <a:defRPr sz="1600" b="1"/>
            </a:lvl7pPr>
            <a:lvl8pPr marL="3190813" indent="0">
              <a:buNone/>
              <a:defRPr sz="1600" b="1"/>
            </a:lvl8pPr>
            <a:lvl9pPr marL="364664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38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5" indent="0">
              <a:buNone/>
              <a:defRPr sz="2000" b="1"/>
            </a:lvl2pPr>
            <a:lvl3pPr marL="911651" indent="0">
              <a:buNone/>
              <a:defRPr sz="1800" b="1"/>
            </a:lvl3pPr>
            <a:lvl4pPr marL="1367481" indent="0">
              <a:buNone/>
              <a:defRPr sz="1600" b="1"/>
            </a:lvl4pPr>
            <a:lvl5pPr marL="1823316" indent="0">
              <a:buNone/>
              <a:defRPr sz="1600" b="1"/>
            </a:lvl5pPr>
            <a:lvl6pPr marL="2279151" indent="0">
              <a:buNone/>
              <a:defRPr sz="1600" b="1"/>
            </a:lvl6pPr>
            <a:lvl7pPr marL="2734982" indent="0">
              <a:buNone/>
              <a:defRPr sz="1600" b="1"/>
            </a:lvl7pPr>
            <a:lvl8pPr marL="3190813" indent="0">
              <a:buNone/>
              <a:defRPr sz="1600" b="1"/>
            </a:lvl8pPr>
            <a:lvl9pPr marL="364664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38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0486453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3251414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274441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2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1435102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5825" indent="0">
              <a:buNone/>
              <a:defRPr sz="1200"/>
            </a:lvl2pPr>
            <a:lvl3pPr marL="911651" indent="0">
              <a:buNone/>
              <a:defRPr sz="1000"/>
            </a:lvl3pPr>
            <a:lvl4pPr marL="1367481" indent="0">
              <a:buNone/>
              <a:defRPr sz="900"/>
            </a:lvl4pPr>
            <a:lvl5pPr marL="1823316" indent="0">
              <a:buNone/>
              <a:defRPr sz="900"/>
            </a:lvl5pPr>
            <a:lvl6pPr marL="2279151" indent="0">
              <a:buNone/>
              <a:defRPr sz="900"/>
            </a:lvl6pPr>
            <a:lvl7pPr marL="2734982" indent="0">
              <a:buNone/>
              <a:defRPr sz="900"/>
            </a:lvl7pPr>
            <a:lvl8pPr marL="3190813" indent="0">
              <a:buNone/>
              <a:defRPr sz="900"/>
            </a:lvl8pPr>
            <a:lvl9pPr marL="364664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8804612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5825" indent="0">
              <a:buNone/>
              <a:defRPr sz="2800"/>
            </a:lvl2pPr>
            <a:lvl3pPr marL="911651" indent="0">
              <a:buNone/>
              <a:defRPr sz="2400"/>
            </a:lvl3pPr>
            <a:lvl4pPr marL="1367481" indent="0">
              <a:buNone/>
              <a:defRPr sz="2000"/>
            </a:lvl4pPr>
            <a:lvl5pPr marL="1823316" indent="0">
              <a:buNone/>
              <a:defRPr sz="2000"/>
            </a:lvl5pPr>
            <a:lvl6pPr marL="2279151" indent="0">
              <a:buNone/>
              <a:defRPr sz="2000"/>
            </a:lvl6pPr>
            <a:lvl7pPr marL="2734982" indent="0">
              <a:buNone/>
              <a:defRPr sz="2000"/>
            </a:lvl7pPr>
            <a:lvl8pPr marL="3190813" indent="0">
              <a:buNone/>
              <a:defRPr sz="2000"/>
            </a:lvl8pPr>
            <a:lvl9pPr marL="3646644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5825" indent="0">
              <a:buNone/>
              <a:defRPr sz="1200"/>
            </a:lvl2pPr>
            <a:lvl3pPr marL="911651" indent="0">
              <a:buNone/>
              <a:defRPr sz="1000"/>
            </a:lvl3pPr>
            <a:lvl4pPr marL="1367481" indent="0">
              <a:buNone/>
              <a:defRPr sz="900"/>
            </a:lvl4pPr>
            <a:lvl5pPr marL="1823316" indent="0">
              <a:buNone/>
              <a:defRPr sz="900"/>
            </a:lvl5pPr>
            <a:lvl6pPr marL="2279151" indent="0">
              <a:buNone/>
              <a:defRPr sz="900"/>
            </a:lvl6pPr>
            <a:lvl7pPr marL="2734982" indent="0">
              <a:buNone/>
              <a:defRPr sz="900"/>
            </a:lvl7pPr>
            <a:lvl8pPr marL="3190813" indent="0">
              <a:buNone/>
              <a:defRPr sz="900"/>
            </a:lvl8pPr>
            <a:lvl9pPr marL="364664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7178637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374631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57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1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775323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50" y="294100"/>
            <a:ext cx="8684944" cy="314028"/>
          </a:xfrm>
        </p:spPr>
        <p:txBody>
          <a:bodyPr/>
          <a:lstStyle>
            <a:lvl1pPr>
              <a:defRPr sz="204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2769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163898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8" y="1124744"/>
            <a:ext cx="2280443" cy="5184576"/>
          </a:xfrm>
        </p:spPr>
        <p:txBody>
          <a:bodyPr vert="eaVert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1124744"/>
            <a:ext cx="6681390" cy="5184576"/>
          </a:xfrm>
        </p:spPr>
        <p:txBody>
          <a:bodyPr vert="eaVert"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585598-2C0F-4DCA-970D-4CEA01143909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382860"/>
      </p:ext>
    </p:extLst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699927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668724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03812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660061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225067"/>
      </p:ext>
    </p:extLst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368375"/>
      </p:ext>
    </p:extLst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330012"/>
      </p:ext>
    </p:extLst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140956"/>
      </p:ext>
    </p:extLst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0610900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323291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9" y="349866"/>
            <a:ext cx="1037143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hangingPunct="1">
              <a:defRPr/>
            </a:pPr>
            <a:r>
              <a:rPr lang="ru-RU" sz="952" b="1" dirty="0" smtClean="0">
                <a:solidFill>
                  <a:srgbClr val="414142"/>
                </a:solidFill>
                <a:latin typeface="Microsoft Sans Serif"/>
                <a:cs typeface="Microsoft Sans Serif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7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54155" eaLnBrk="1" hangingPunct="1">
              <a:defRPr/>
            </a:pPr>
            <a:endParaRPr lang="ru-RU" sz="857" dirty="0" smtClean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80" y="508601"/>
            <a:ext cx="2991203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hangingPunct="1">
              <a:defRPr/>
            </a:pPr>
            <a:r>
              <a:rPr lang="en-US" sz="952" dirty="0" smtClean="0">
                <a:solidFill>
                  <a:srgbClr val="414142"/>
                </a:solidFill>
                <a:latin typeface="Microsoft Sans Serif"/>
                <a:cs typeface="Microsoft Sans Serif"/>
              </a:rPr>
              <a:t>Last Modified 25.04.2014 19:06 Russian Standard Time</a:t>
            </a:r>
            <a:endParaRPr lang="ru-RU" sz="952" dirty="0" smtClean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656176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hangingPunct="1">
              <a:defRPr/>
            </a:pPr>
            <a:r>
              <a:rPr lang="en-US" sz="952" dirty="0" smtClean="0">
                <a:solidFill>
                  <a:srgbClr val="414142"/>
                </a:solidFill>
                <a:latin typeface="Microsoft Sans Serif"/>
                <a:cs typeface="Microsoft Sans Serif"/>
              </a:rPr>
              <a:t>Printed 24.04.2014 20:59 Russian Standard Time</a:t>
            </a:r>
            <a:endParaRPr lang="ru-RU" sz="952" dirty="0" smtClean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grpSp>
        <p:nvGrpSpPr>
          <p:cNvPr id="2" name="McK Title Elements"/>
          <p:cNvGrpSpPr>
            <a:grpSpLocks/>
          </p:cNvGrpSpPr>
          <p:nvPr/>
        </p:nvGrpSpPr>
        <p:grpSpPr bwMode="auto">
          <a:xfrm>
            <a:off x="2" y="1"/>
            <a:ext cx="990249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4155" eaLnBrk="1" hangingPunct="1">
                <a:defRPr/>
              </a:pPr>
              <a:r>
                <a:rPr lang="ru-RU" sz="1429" dirty="0" smtClean="0">
                  <a:solidFill>
                    <a:srgbClr val="414142"/>
                  </a:solidFill>
                  <a:latin typeface="Microsoft Sans Serif"/>
                  <a:cs typeface="Microsoft Sans Serif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4155" eaLnBrk="1" hangingPunct="1">
                <a:defRPr/>
              </a:pPr>
              <a:r>
                <a:rPr lang="ru-RU" sz="1429" dirty="0" smtClean="0">
                  <a:solidFill>
                    <a:srgbClr val="414142"/>
                  </a:solidFill>
                  <a:latin typeface="Microsoft Sans Serif"/>
                  <a:cs typeface="Microsoft Sans Serif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05"/>
              <a:ext cx="3226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56906" eaLnBrk="0" hangingPunct="0"/>
              <a:r>
                <a:rPr lang="ru-RU" sz="857" dirty="0" smtClean="0">
                  <a:solidFill>
                    <a:srgbClr val="414142"/>
                  </a:solidFill>
                  <a:cs typeface="Microsoft Sans Serif"/>
                </a:rPr>
                <a:t>КОНФИДЕНЦИАЛЬНАЯ ИНФОРМАЦИЯ, СОБСТВЕННОСТЬ McKINSEY &amp; COMPANY</a:t>
              </a:r>
            </a:p>
            <a:p>
              <a:pPr defTabSz="856906" eaLnBrk="0" hangingPunct="0"/>
              <a:r>
                <a:rPr lang="ru-RU" sz="857" dirty="0" smtClean="0">
                  <a:solidFill>
                    <a:srgbClr val="414142"/>
                  </a:solidFill>
                  <a:cs typeface="Microsoft Sans Serif"/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57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208584" y="3175999"/>
            <a:ext cx="5455758" cy="502445"/>
          </a:xfrm>
          <a:prstGeom prst="rect">
            <a:avLst/>
          </a:prstGeom>
        </p:spPr>
        <p:txBody>
          <a:bodyPr/>
          <a:lstStyle>
            <a:lvl1pPr>
              <a:defRPr sz="3429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208584" y="3945699"/>
            <a:ext cx="5455758" cy="241926"/>
          </a:xfrm>
        </p:spPr>
        <p:txBody>
          <a:bodyPr>
            <a:spAutoFit/>
          </a:bodyPr>
          <a:lstStyle>
            <a:lvl1pPr marL="0" indent="0">
              <a:buNone/>
              <a:defRPr sz="1429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096"/>
          <a:stretch/>
        </p:blipFill>
        <p:spPr bwMode="auto">
          <a:xfrm>
            <a:off x="6903217" y="1196754"/>
            <a:ext cx="1169676" cy="1243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grpSp>
        <p:nvGrpSpPr>
          <p:cNvPr id="23" name="Group 22"/>
          <p:cNvGrpSpPr/>
          <p:nvPr userDrawn="1"/>
        </p:nvGrpSpPr>
        <p:grpSpPr>
          <a:xfrm>
            <a:off x="0" y="0"/>
            <a:ext cx="9906000" cy="980728"/>
            <a:chOff x="0" y="2505596"/>
            <a:chExt cx="6696744" cy="1707025"/>
          </a:xfrm>
        </p:grpSpPr>
        <p:sp>
          <p:nvSpPr>
            <p:cNvPr id="24" name="Rectangle 23"/>
            <p:cNvSpPr/>
            <p:nvPr userDrawn="1"/>
          </p:nvSpPr>
          <p:spPr>
            <a:xfrm>
              <a:off x="0" y="3636557"/>
              <a:ext cx="6696744" cy="5760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0" y="3068960"/>
              <a:ext cx="6696744" cy="5760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3E87BD"/>
                </a:solidFill>
                <a:cs typeface="Microsoft Sans Serif"/>
              </a:endParaRP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2505596"/>
              <a:ext cx="6696744" cy="5760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</p:grpSp>
      <p:pic>
        <p:nvPicPr>
          <p:cNvPr id="3" name="Picture 2" descr="kar-word-logo1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80730"/>
            <a:ext cx="3236809" cy="1303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148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54899259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570204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816761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511110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508158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214911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40240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765628"/>
      </p:ext>
    </p:extLst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60154"/>
      </p:ext>
    </p:extLst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6837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381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881031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65990864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7474093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9882432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67928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956017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548037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745277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519048"/>
      </p:ext>
    </p:extLst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643684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4" y="1576919"/>
            <a:ext cx="8600216" cy="4581071"/>
          </a:xfrm>
        </p:spPr>
        <p:txBody>
          <a:bodyPr/>
          <a:lstStyle>
            <a:lvl1pPr>
              <a:defRPr b="1"/>
            </a:lvl1pPr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</a:t>
            </a:r>
            <a:r>
              <a:rPr lang="ru-RU" dirty="0" smtClean="0"/>
              <a:t>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Первы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Второ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Трети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537069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972608"/>
      </p:ext>
    </p:extLst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6793360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5" y="1576918"/>
            <a:ext cx="8531729" cy="4458607"/>
          </a:xfrm>
        </p:spPr>
        <p:txBody>
          <a:bodyPr/>
          <a:lstStyle>
            <a:lvl1pPr>
              <a:defRPr b="1" baseline="0">
                <a:solidFill>
                  <a:schemeClr val="accent3"/>
                </a:solidFill>
              </a:defRPr>
            </a:lvl1pPr>
            <a:lvl2pPr marL="4536" indent="0">
              <a:spcBef>
                <a:spcPts val="571"/>
              </a:spcBef>
              <a:buFontTx/>
              <a:buNone/>
              <a:defRPr baseline="0"/>
            </a:lvl2pPr>
            <a:lvl3pPr marL="774061" indent="-237359" defTabSz="514026">
              <a:buClr>
                <a:schemeClr val="accent3"/>
              </a:buClr>
              <a:buSzPct val="130000"/>
              <a:buFont typeface="Wingdings" pitchFamily="2" charset="2"/>
              <a:buChar char="§"/>
              <a:defRPr sz="1905" baseline="0">
                <a:solidFill>
                  <a:schemeClr val="tx1"/>
                </a:solidFill>
                <a:latin typeface="Microsoft Sans Serif"/>
                <a:cs typeface="Microsoft Sans Serif"/>
              </a:defRPr>
            </a:lvl3pPr>
            <a:lvl4pPr marL="1197375" indent="-237359">
              <a:spcBef>
                <a:spcPts val="571"/>
              </a:spcBef>
              <a:buClr>
                <a:schemeClr val="accent3"/>
              </a:buClr>
              <a:buFont typeface="Arial" pitchFamily="34" charset="0"/>
              <a:buChar char="•"/>
              <a:defRPr sz="1714" baseline="0">
                <a:latin typeface="Microsoft Sans Serif"/>
                <a:cs typeface="Microsoft Sans Serif"/>
              </a:defRPr>
            </a:lvl4pPr>
            <a:lvl5pPr marL="1794552" indent="-326557">
              <a:spcBef>
                <a:spcPts val="0"/>
              </a:spcBef>
              <a:buFont typeface="Calibri" pitchFamily="34" charset="0"/>
              <a:buChar char="–"/>
              <a:defRPr sz="1524" baseline="0"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, 24</a:t>
            </a:r>
            <a:r>
              <a:rPr lang="ru-RU" dirty="0" smtClean="0"/>
              <a:t>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Текст (</a:t>
            </a:r>
            <a:r>
              <a:rPr lang="en-US" dirty="0" smtClean="0"/>
              <a:t>Calibri, 24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2"/>
            <a:r>
              <a:rPr lang="ru-RU" dirty="0" smtClean="0"/>
              <a:t>Первый уровень (</a:t>
            </a:r>
            <a:r>
              <a:rPr lang="en-US" dirty="0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Второй уровень (</a:t>
            </a:r>
            <a:r>
              <a:rPr lang="en-US" dirty="0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4"/>
            <a:r>
              <a:rPr lang="ru-RU" dirty="0" smtClean="0"/>
              <a:t>Третий уровень (</a:t>
            </a:r>
            <a:r>
              <a:rPr lang="en-US" dirty="0" smtClean="0"/>
              <a:t>Calibri, </a:t>
            </a:r>
            <a:r>
              <a:rPr lang="ru-RU" dirty="0" smtClean="0"/>
              <a:t>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9134273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уме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3" y="1576918"/>
            <a:ext cx="8600216" cy="4581071"/>
          </a:xfrm>
        </p:spPr>
        <p:txBody>
          <a:bodyPr/>
          <a:lstStyle>
            <a:lvl1pPr>
              <a:defRPr b="1"/>
            </a:lvl1pPr>
            <a:lvl2pPr marL="912487" indent="-435410">
              <a:buFont typeface="+mj-lt"/>
              <a:buAutoNum type="arabicPeriod"/>
              <a:defRPr/>
            </a:lvl2pPr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Заголовок (</a:t>
            </a:r>
            <a:r>
              <a:rPr lang="ru-RU" dirty="0" err="1" smtClean="0"/>
              <a:t>Calibri</a:t>
            </a:r>
            <a:r>
              <a:rPr lang="ru-RU" dirty="0" smtClean="0"/>
              <a:t>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Второ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Трети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271655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нуме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5" y="1576918"/>
            <a:ext cx="8531729" cy="4458607"/>
          </a:xfrm>
        </p:spPr>
        <p:txBody>
          <a:bodyPr/>
          <a:lstStyle>
            <a:lvl1pPr>
              <a:defRPr b="1" baseline="0">
                <a:solidFill>
                  <a:schemeClr val="accent3"/>
                </a:solidFill>
              </a:defRPr>
            </a:lvl1pPr>
            <a:lvl2pPr marL="4536" indent="0">
              <a:spcBef>
                <a:spcPts val="571"/>
              </a:spcBef>
              <a:buFontTx/>
              <a:buNone/>
              <a:defRPr baseline="0"/>
            </a:lvl2pPr>
            <a:lvl3pPr marL="972111" indent="-435410" defTabSz="514026">
              <a:buClr>
                <a:schemeClr val="accent3"/>
              </a:buClr>
              <a:buSzPct val="130000"/>
              <a:buFont typeface="+mj-lt"/>
              <a:buAutoNum type="arabicPeriod"/>
              <a:defRPr sz="1905" baseline="0">
                <a:latin typeface="Microsoft Sans Serif"/>
                <a:cs typeface="Microsoft Sans Serif"/>
              </a:defRPr>
            </a:lvl3pPr>
            <a:lvl4pPr marL="1286573" indent="-326557">
              <a:spcBef>
                <a:spcPts val="571"/>
              </a:spcBef>
              <a:buClr>
                <a:schemeClr val="accent3"/>
              </a:buClr>
              <a:buFont typeface="+mj-lt"/>
              <a:buAutoNum type="alphaLcParenR"/>
              <a:defRPr sz="1714" baseline="0">
                <a:latin typeface="Microsoft Sans Serif"/>
                <a:cs typeface="Microsoft Sans Serif"/>
              </a:defRPr>
            </a:lvl4pPr>
            <a:lvl5pPr marL="1794552" indent="-326557">
              <a:spcBef>
                <a:spcPts val="0"/>
              </a:spcBef>
              <a:buFont typeface="Calibri" pitchFamily="34" charset="0"/>
              <a:buChar char="–"/>
              <a:defRPr sz="1524" baseline="0"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, 24</a:t>
            </a:r>
            <a:r>
              <a:rPr lang="ru-RU" dirty="0" smtClean="0"/>
              <a:t>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Текст (</a:t>
            </a:r>
            <a:r>
              <a:rPr lang="en-US" dirty="0" smtClean="0"/>
              <a:t>Calibri, 24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2"/>
            <a:r>
              <a:rPr lang="ru-RU" dirty="0" smtClean="0"/>
              <a:t>Первый уровень (</a:t>
            </a:r>
            <a:r>
              <a:rPr lang="en-US" dirty="0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Второй уровень (</a:t>
            </a:r>
            <a:r>
              <a:rPr lang="en-US" dirty="0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4"/>
            <a:r>
              <a:rPr lang="ru-RU" dirty="0" smtClean="0"/>
              <a:t>Третий уровень (</a:t>
            </a:r>
            <a:r>
              <a:rPr lang="en-US" dirty="0" smtClean="0"/>
              <a:t>Calibri, </a:t>
            </a:r>
            <a:r>
              <a:rPr lang="ru-RU" dirty="0" smtClean="0"/>
              <a:t>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1839567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ой слайд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80" tIns="43540" rIns="87080" bIns="43540" rtlCol="0" anchor="ctr"/>
          <a:lstStyle/>
          <a:p>
            <a:pPr algn="ctr" defTabSz="954155"/>
            <a:endParaRPr lang="ru-RU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7751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253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2952"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56" y="3284541"/>
            <a:ext cx="4055268" cy="649287"/>
          </a:xfrm>
          <a:ln/>
        </p:spPr>
        <p:txBody>
          <a:bodyPr anchor="ctr"/>
          <a:lstStyle>
            <a:lvl1pPr marL="0" indent="0">
              <a:buFontTx/>
              <a:buNone/>
              <a:defRPr sz="1429" b="1">
                <a:solidFill>
                  <a:schemeClr val="accent4"/>
                </a:solidFill>
              </a:defRPr>
            </a:lvl1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2435359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чер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80" tIns="43540" rIns="87080" bIns="43540" rtlCol="0" anchor="ctr"/>
          <a:lstStyle/>
          <a:p>
            <a:pPr algn="ctr" defTabSz="954155"/>
            <a:endParaRPr lang="ru-RU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DDD8AE-41E1-471F-8F93-F6F27CD8EE67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6685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581082" y="3949080"/>
            <a:ext cx="3796343" cy="2180356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</a:t>
            </a:r>
            <a:r>
              <a:rPr lang="ru-RU" dirty="0" smtClean="0"/>
              <a:t>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Первы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Второ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Трети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13" hasCustomPrompt="1"/>
          </p:nvPr>
        </p:nvSpPr>
        <p:spPr>
          <a:xfrm>
            <a:off x="5519712" y="3949080"/>
            <a:ext cx="3796343" cy="2180356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</a:t>
            </a:r>
            <a:r>
              <a:rPr lang="ru-RU" dirty="0" smtClean="0"/>
              <a:t>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Первы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Второ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Трети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  <p:sp>
        <p:nvSpPr>
          <p:cNvPr id="13" name="Рисунок 22"/>
          <p:cNvSpPr>
            <a:spLocks noGrp="1"/>
          </p:cNvSpPr>
          <p:nvPr>
            <p:ph type="pic" sz="quarter" idx="16" hasCustomPrompt="1"/>
          </p:nvPr>
        </p:nvSpPr>
        <p:spPr>
          <a:xfrm>
            <a:off x="592428" y="1936062"/>
            <a:ext cx="1785180" cy="1577318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Место для рисунка</a:t>
            </a:r>
            <a:endParaRPr lang="ru-RU" dirty="0"/>
          </a:p>
        </p:txBody>
      </p:sp>
      <p:sp>
        <p:nvSpPr>
          <p:cNvPr id="14" name="Freeform 145"/>
          <p:cNvSpPr>
            <a:spLocks/>
          </p:cNvSpPr>
          <p:nvPr userDrawn="1"/>
        </p:nvSpPr>
        <p:spPr bwMode="auto">
          <a:xfrm flipV="1">
            <a:off x="592430" y="1632650"/>
            <a:ext cx="1795595" cy="165662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17" name="Freeform 146"/>
          <p:cNvSpPr>
            <a:spLocks/>
          </p:cNvSpPr>
          <p:nvPr userDrawn="1"/>
        </p:nvSpPr>
        <p:spPr bwMode="auto">
          <a:xfrm flipV="1">
            <a:off x="592430" y="3651133"/>
            <a:ext cx="1795595" cy="160790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20" name="Рисунок 22"/>
          <p:cNvSpPr>
            <a:spLocks noGrp="1"/>
          </p:cNvSpPr>
          <p:nvPr>
            <p:ph type="pic" sz="quarter" idx="17" hasCustomPrompt="1"/>
          </p:nvPr>
        </p:nvSpPr>
        <p:spPr>
          <a:xfrm>
            <a:off x="5548369" y="1936062"/>
            <a:ext cx="1785180" cy="1577318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Место для рисунка</a:t>
            </a:r>
            <a:endParaRPr lang="ru-RU" dirty="0"/>
          </a:p>
        </p:txBody>
      </p:sp>
      <p:sp>
        <p:nvSpPr>
          <p:cNvPr id="22" name="Freeform 145"/>
          <p:cNvSpPr>
            <a:spLocks/>
          </p:cNvSpPr>
          <p:nvPr userDrawn="1"/>
        </p:nvSpPr>
        <p:spPr bwMode="auto">
          <a:xfrm flipV="1">
            <a:off x="5548370" y="1632650"/>
            <a:ext cx="1795595" cy="165662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24" name="Freeform 146"/>
          <p:cNvSpPr>
            <a:spLocks/>
          </p:cNvSpPr>
          <p:nvPr userDrawn="1"/>
        </p:nvSpPr>
        <p:spPr bwMode="auto">
          <a:xfrm flipV="1">
            <a:off x="5548370" y="3651133"/>
            <a:ext cx="1795595" cy="160790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grpSp>
        <p:nvGrpSpPr>
          <p:cNvPr id="15" name="Группа 14"/>
          <p:cNvGrpSpPr/>
          <p:nvPr userDrawn="1"/>
        </p:nvGrpSpPr>
        <p:grpSpPr>
          <a:xfrm>
            <a:off x="7321786" y="6319288"/>
            <a:ext cx="1259454" cy="288596"/>
            <a:chOff x="7637420" y="6635252"/>
            <a:chExt cx="1313748" cy="303026"/>
          </a:xfrm>
        </p:grpSpPr>
        <p:sp>
          <p:nvSpPr>
            <p:cNvPr id="16" name="Freeform 287"/>
            <p:cNvSpPr>
              <a:spLocks/>
            </p:cNvSpPr>
            <p:nvPr/>
          </p:nvSpPr>
          <p:spPr bwMode="auto">
            <a:xfrm>
              <a:off x="7637420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1" name="Freeform 288"/>
            <p:cNvSpPr>
              <a:spLocks/>
            </p:cNvSpPr>
            <p:nvPr/>
          </p:nvSpPr>
          <p:spPr bwMode="auto">
            <a:xfrm>
              <a:off x="7860734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3" name="Freeform 289"/>
            <p:cNvSpPr>
              <a:spLocks/>
            </p:cNvSpPr>
            <p:nvPr/>
          </p:nvSpPr>
          <p:spPr bwMode="auto">
            <a:xfrm>
              <a:off x="8084048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5" name="Freeform 290"/>
            <p:cNvSpPr>
              <a:spLocks/>
            </p:cNvSpPr>
            <p:nvPr/>
          </p:nvSpPr>
          <p:spPr bwMode="auto">
            <a:xfrm>
              <a:off x="8307363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6" name="Freeform 291"/>
            <p:cNvSpPr>
              <a:spLocks/>
            </p:cNvSpPr>
            <p:nvPr/>
          </p:nvSpPr>
          <p:spPr bwMode="auto">
            <a:xfrm>
              <a:off x="8753987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7" name="Freeform 292"/>
            <p:cNvSpPr>
              <a:spLocks/>
            </p:cNvSpPr>
            <p:nvPr/>
          </p:nvSpPr>
          <p:spPr bwMode="auto">
            <a:xfrm>
              <a:off x="8530676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8" name="Freeform 293"/>
            <p:cNvSpPr>
              <a:spLocks/>
            </p:cNvSpPr>
            <p:nvPr/>
          </p:nvSpPr>
          <p:spPr bwMode="auto">
            <a:xfrm>
              <a:off x="7860734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9" name="Freeform 294"/>
            <p:cNvSpPr>
              <a:spLocks/>
            </p:cNvSpPr>
            <p:nvPr/>
          </p:nvSpPr>
          <p:spPr bwMode="auto">
            <a:xfrm>
              <a:off x="8084048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0" name="Freeform 295"/>
            <p:cNvSpPr>
              <a:spLocks/>
            </p:cNvSpPr>
            <p:nvPr/>
          </p:nvSpPr>
          <p:spPr bwMode="auto">
            <a:xfrm>
              <a:off x="830736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1" name="Freeform 296"/>
            <p:cNvSpPr>
              <a:spLocks/>
            </p:cNvSpPr>
            <p:nvPr/>
          </p:nvSpPr>
          <p:spPr bwMode="auto">
            <a:xfrm>
              <a:off x="8530676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2" name="Freeform 297"/>
            <p:cNvSpPr>
              <a:spLocks/>
            </p:cNvSpPr>
            <p:nvPr/>
          </p:nvSpPr>
          <p:spPr bwMode="auto">
            <a:xfrm>
              <a:off x="8753987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3" name="Freeform 298"/>
            <p:cNvSpPr>
              <a:spLocks/>
            </p:cNvSpPr>
            <p:nvPr/>
          </p:nvSpPr>
          <p:spPr bwMode="auto">
            <a:xfrm>
              <a:off x="763742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4" name="Freeform 299"/>
            <p:cNvSpPr>
              <a:spLocks/>
            </p:cNvSpPr>
            <p:nvPr/>
          </p:nvSpPr>
          <p:spPr bwMode="auto">
            <a:xfrm>
              <a:off x="7860734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5" name="Freeform 300"/>
            <p:cNvSpPr>
              <a:spLocks/>
            </p:cNvSpPr>
            <p:nvPr/>
          </p:nvSpPr>
          <p:spPr bwMode="auto">
            <a:xfrm>
              <a:off x="8084048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6" name="Freeform 301"/>
            <p:cNvSpPr>
              <a:spLocks/>
            </p:cNvSpPr>
            <p:nvPr/>
          </p:nvSpPr>
          <p:spPr bwMode="auto">
            <a:xfrm>
              <a:off x="830736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7" name="Freeform 302"/>
            <p:cNvSpPr>
              <a:spLocks/>
            </p:cNvSpPr>
            <p:nvPr/>
          </p:nvSpPr>
          <p:spPr bwMode="auto">
            <a:xfrm>
              <a:off x="8530676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8" name="Freeform 303"/>
            <p:cNvSpPr>
              <a:spLocks/>
            </p:cNvSpPr>
            <p:nvPr/>
          </p:nvSpPr>
          <p:spPr bwMode="auto">
            <a:xfrm>
              <a:off x="8753987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9" name="Freeform 304"/>
            <p:cNvSpPr>
              <a:spLocks/>
            </p:cNvSpPr>
            <p:nvPr/>
          </p:nvSpPr>
          <p:spPr bwMode="auto">
            <a:xfrm>
              <a:off x="763742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80548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581081" y="1572291"/>
            <a:ext cx="4371158" cy="4452329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</a:t>
            </a:r>
            <a:r>
              <a:rPr lang="ru-RU" dirty="0" smtClean="0"/>
              <a:t>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Первы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Второ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Трети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  <p:sp>
        <p:nvSpPr>
          <p:cNvPr id="10" name="Рисунок 22"/>
          <p:cNvSpPr>
            <a:spLocks noGrp="1"/>
          </p:cNvSpPr>
          <p:nvPr>
            <p:ph type="pic" sz="quarter" idx="15" hasCustomPrompt="1"/>
          </p:nvPr>
        </p:nvSpPr>
        <p:spPr>
          <a:xfrm>
            <a:off x="5656969" y="2125999"/>
            <a:ext cx="3659802" cy="338332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Место для рисунка</a:t>
            </a:r>
            <a:endParaRPr lang="ru-RU" dirty="0"/>
          </a:p>
        </p:txBody>
      </p:sp>
      <p:sp>
        <p:nvSpPr>
          <p:cNvPr id="11" name="Freeform 145"/>
          <p:cNvSpPr>
            <a:spLocks/>
          </p:cNvSpPr>
          <p:nvPr userDrawn="1"/>
        </p:nvSpPr>
        <p:spPr bwMode="auto">
          <a:xfrm flipV="1">
            <a:off x="5656970" y="1582591"/>
            <a:ext cx="3659973" cy="337670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12" name="Freeform 146"/>
          <p:cNvSpPr>
            <a:spLocks/>
          </p:cNvSpPr>
          <p:nvPr userDrawn="1"/>
        </p:nvSpPr>
        <p:spPr bwMode="auto">
          <a:xfrm flipV="1">
            <a:off x="5656970" y="5696879"/>
            <a:ext cx="3659973" cy="327739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7321786" y="6319288"/>
            <a:ext cx="1259454" cy="288596"/>
            <a:chOff x="7637420" y="6635252"/>
            <a:chExt cx="1313748" cy="303026"/>
          </a:xfrm>
        </p:grpSpPr>
        <p:sp>
          <p:nvSpPr>
            <p:cNvPr id="13" name="Freeform 287"/>
            <p:cNvSpPr>
              <a:spLocks/>
            </p:cNvSpPr>
            <p:nvPr/>
          </p:nvSpPr>
          <p:spPr bwMode="auto">
            <a:xfrm>
              <a:off x="7637420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4" name="Freeform 288"/>
            <p:cNvSpPr>
              <a:spLocks/>
            </p:cNvSpPr>
            <p:nvPr/>
          </p:nvSpPr>
          <p:spPr bwMode="auto">
            <a:xfrm>
              <a:off x="7860734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5" name="Freeform 289"/>
            <p:cNvSpPr>
              <a:spLocks/>
            </p:cNvSpPr>
            <p:nvPr/>
          </p:nvSpPr>
          <p:spPr bwMode="auto">
            <a:xfrm>
              <a:off x="8084048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6" name="Freeform 290"/>
            <p:cNvSpPr>
              <a:spLocks/>
            </p:cNvSpPr>
            <p:nvPr/>
          </p:nvSpPr>
          <p:spPr bwMode="auto">
            <a:xfrm>
              <a:off x="8307363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7" name="Freeform 291"/>
            <p:cNvSpPr>
              <a:spLocks/>
            </p:cNvSpPr>
            <p:nvPr/>
          </p:nvSpPr>
          <p:spPr bwMode="auto">
            <a:xfrm>
              <a:off x="8753987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9" name="Freeform 292"/>
            <p:cNvSpPr>
              <a:spLocks/>
            </p:cNvSpPr>
            <p:nvPr/>
          </p:nvSpPr>
          <p:spPr bwMode="auto">
            <a:xfrm>
              <a:off x="8530676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0" name="Freeform 293"/>
            <p:cNvSpPr>
              <a:spLocks/>
            </p:cNvSpPr>
            <p:nvPr/>
          </p:nvSpPr>
          <p:spPr bwMode="auto">
            <a:xfrm>
              <a:off x="7860734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1" name="Freeform 294"/>
            <p:cNvSpPr>
              <a:spLocks/>
            </p:cNvSpPr>
            <p:nvPr/>
          </p:nvSpPr>
          <p:spPr bwMode="auto">
            <a:xfrm>
              <a:off x="8084048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2" name="Freeform 295"/>
            <p:cNvSpPr>
              <a:spLocks/>
            </p:cNvSpPr>
            <p:nvPr/>
          </p:nvSpPr>
          <p:spPr bwMode="auto">
            <a:xfrm>
              <a:off x="830736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3" name="Freeform 296"/>
            <p:cNvSpPr>
              <a:spLocks/>
            </p:cNvSpPr>
            <p:nvPr/>
          </p:nvSpPr>
          <p:spPr bwMode="auto">
            <a:xfrm>
              <a:off x="8530676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4" name="Freeform 297"/>
            <p:cNvSpPr>
              <a:spLocks/>
            </p:cNvSpPr>
            <p:nvPr/>
          </p:nvSpPr>
          <p:spPr bwMode="auto">
            <a:xfrm>
              <a:off x="8753987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5" name="Freeform 298"/>
            <p:cNvSpPr>
              <a:spLocks/>
            </p:cNvSpPr>
            <p:nvPr/>
          </p:nvSpPr>
          <p:spPr bwMode="auto">
            <a:xfrm>
              <a:off x="763742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6" name="Freeform 299"/>
            <p:cNvSpPr>
              <a:spLocks/>
            </p:cNvSpPr>
            <p:nvPr/>
          </p:nvSpPr>
          <p:spPr bwMode="auto">
            <a:xfrm>
              <a:off x="7860734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7" name="Freeform 300"/>
            <p:cNvSpPr>
              <a:spLocks/>
            </p:cNvSpPr>
            <p:nvPr/>
          </p:nvSpPr>
          <p:spPr bwMode="auto">
            <a:xfrm>
              <a:off x="8084048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8" name="Freeform 301"/>
            <p:cNvSpPr>
              <a:spLocks/>
            </p:cNvSpPr>
            <p:nvPr/>
          </p:nvSpPr>
          <p:spPr bwMode="auto">
            <a:xfrm>
              <a:off x="830736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9" name="Freeform 302"/>
            <p:cNvSpPr>
              <a:spLocks/>
            </p:cNvSpPr>
            <p:nvPr/>
          </p:nvSpPr>
          <p:spPr bwMode="auto">
            <a:xfrm>
              <a:off x="8530676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0" name="Freeform 303"/>
            <p:cNvSpPr>
              <a:spLocks/>
            </p:cNvSpPr>
            <p:nvPr/>
          </p:nvSpPr>
          <p:spPr bwMode="auto">
            <a:xfrm>
              <a:off x="8753987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1" name="Freeform 304"/>
            <p:cNvSpPr>
              <a:spLocks/>
            </p:cNvSpPr>
            <p:nvPr/>
          </p:nvSpPr>
          <p:spPr bwMode="auto">
            <a:xfrm>
              <a:off x="763742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52463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grpSp>
        <p:nvGrpSpPr>
          <p:cNvPr id="32" name="Группа 31"/>
          <p:cNvGrpSpPr>
            <a:grpSpLocks noChangeAspect="1"/>
          </p:cNvGrpSpPr>
          <p:nvPr userDrawn="1"/>
        </p:nvGrpSpPr>
        <p:grpSpPr>
          <a:xfrm>
            <a:off x="1218653" y="2223823"/>
            <a:ext cx="7324017" cy="2988232"/>
            <a:chOff x="1900645" y="2454346"/>
            <a:chExt cx="6397771" cy="2627564"/>
          </a:xfrm>
        </p:grpSpPr>
        <p:grpSp>
          <p:nvGrpSpPr>
            <p:cNvPr id="31" name="Группа 30"/>
            <p:cNvGrpSpPr/>
            <p:nvPr userDrawn="1"/>
          </p:nvGrpSpPr>
          <p:grpSpPr>
            <a:xfrm>
              <a:off x="1926159" y="2454349"/>
              <a:ext cx="2480948" cy="798517"/>
              <a:chOff x="1926159" y="2454349"/>
              <a:chExt cx="2480948" cy="798517"/>
            </a:xfrm>
          </p:grpSpPr>
          <p:sp>
            <p:nvSpPr>
              <p:cNvPr id="6" name="Line 37"/>
              <p:cNvSpPr>
                <a:spLocks noChangeShapeType="1"/>
              </p:cNvSpPr>
              <p:nvPr/>
            </p:nvSpPr>
            <p:spPr bwMode="auto">
              <a:xfrm flipH="1" flipV="1">
                <a:off x="1926159" y="2469790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7" name="Line 37"/>
              <p:cNvSpPr>
                <a:spLocks noChangeShapeType="1"/>
              </p:cNvSpPr>
              <p:nvPr/>
            </p:nvSpPr>
            <p:spPr bwMode="auto">
              <a:xfrm flipH="1" flipV="1">
                <a:off x="3592706" y="2454349"/>
                <a:ext cx="814401" cy="798517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30" name="Группа 29"/>
            <p:cNvGrpSpPr/>
            <p:nvPr userDrawn="1"/>
          </p:nvGrpSpPr>
          <p:grpSpPr>
            <a:xfrm>
              <a:off x="1936179" y="4317167"/>
              <a:ext cx="2455939" cy="764743"/>
              <a:chOff x="1936179" y="4317167"/>
              <a:chExt cx="2455939" cy="764743"/>
            </a:xfrm>
          </p:grpSpPr>
          <p:sp>
            <p:nvSpPr>
              <p:cNvPr id="9" name="Line 37"/>
              <p:cNvSpPr>
                <a:spLocks noChangeShapeType="1"/>
              </p:cNvSpPr>
              <p:nvPr/>
            </p:nvSpPr>
            <p:spPr bwMode="auto">
              <a:xfrm flipH="1">
                <a:off x="1936179" y="5078536"/>
                <a:ext cx="1691999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0" name="Line 37"/>
              <p:cNvSpPr>
                <a:spLocks noChangeShapeType="1"/>
              </p:cNvSpPr>
              <p:nvPr/>
            </p:nvSpPr>
            <p:spPr bwMode="auto">
              <a:xfrm flipH="1">
                <a:off x="3645797" y="4317167"/>
                <a:ext cx="746321" cy="764743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9" name="Группа 28"/>
            <p:cNvGrpSpPr/>
            <p:nvPr userDrawn="1"/>
          </p:nvGrpSpPr>
          <p:grpSpPr>
            <a:xfrm>
              <a:off x="5846164" y="4332157"/>
              <a:ext cx="2320822" cy="749753"/>
              <a:chOff x="5846164" y="4332157"/>
              <a:chExt cx="2320822" cy="749753"/>
            </a:xfrm>
          </p:grpSpPr>
          <p:sp>
            <p:nvSpPr>
              <p:cNvPr id="12" name="Line 37"/>
              <p:cNvSpPr>
                <a:spLocks noChangeShapeType="1"/>
              </p:cNvSpPr>
              <p:nvPr/>
            </p:nvSpPr>
            <p:spPr bwMode="auto">
              <a:xfrm>
                <a:off x="6474986" y="5078535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3" name="Line 37"/>
              <p:cNvSpPr>
                <a:spLocks noChangeShapeType="1"/>
              </p:cNvSpPr>
              <p:nvPr/>
            </p:nvSpPr>
            <p:spPr bwMode="auto">
              <a:xfrm>
                <a:off x="5846164" y="4332157"/>
                <a:ext cx="630925" cy="749753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8" name="Группа 27"/>
            <p:cNvGrpSpPr/>
            <p:nvPr userDrawn="1"/>
          </p:nvGrpSpPr>
          <p:grpSpPr>
            <a:xfrm>
              <a:off x="5893636" y="2454346"/>
              <a:ext cx="2404780" cy="792000"/>
              <a:chOff x="5893636" y="2454346"/>
              <a:chExt cx="2404780" cy="792000"/>
            </a:xfrm>
          </p:grpSpPr>
          <p:sp>
            <p:nvSpPr>
              <p:cNvPr id="15" name="Line 37"/>
              <p:cNvSpPr>
                <a:spLocks noChangeShapeType="1"/>
              </p:cNvSpPr>
              <p:nvPr/>
            </p:nvSpPr>
            <p:spPr bwMode="auto">
              <a:xfrm flipV="1">
                <a:off x="6606416" y="2457237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6" name="Line 37"/>
              <p:cNvSpPr>
                <a:spLocks noChangeShapeType="1"/>
              </p:cNvSpPr>
              <p:nvPr/>
            </p:nvSpPr>
            <p:spPr bwMode="auto">
              <a:xfrm flipV="1">
                <a:off x="5893636" y="2454346"/>
                <a:ext cx="714992" cy="79200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7" name="Группа 26"/>
            <p:cNvGrpSpPr/>
            <p:nvPr userDrawn="1"/>
          </p:nvGrpSpPr>
          <p:grpSpPr>
            <a:xfrm>
              <a:off x="1900645" y="3756906"/>
              <a:ext cx="2314548" cy="12099"/>
              <a:chOff x="1900645" y="3756906"/>
              <a:chExt cx="2314548" cy="12099"/>
            </a:xfrm>
          </p:grpSpPr>
          <p:sp>
            <p:nvSpPr>
              <p:cNvPr id="19" name="Line 37"/>
              <p:cNvSpPr>
                <a:spLocks noChangeShapeType="1"/>
              </p:cNvSpPr>
              <p:nvPr/>
            </p:nvSpPr>
            <p:spPr bwMode="auto">
              <a:xfrm flipH="1" flipV="1">
                <a:off x="1900645" y="3756907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20" name="Line 37"/>
              <p:cNvSpPr>
                <a:spLocks noChangeShapeType="1"/>
              </p:cNvSpPr>
              <p:nvPr/>
            </p:nvSpPr>
            <p:spPr bwMode="auto">
              <a:xfrm flipH="1">
                <a:off x="3567193" y="3756906"/>
                <a:ext cx="648000" cy="12099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 type="none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6" name="Группа 25"/>
            <p:cNvGrpSpPr/>
            <p:nvPr userDrawn="1"/>
          </p:nvGrpSpPr>
          <p:grpSpPr>
            <a:xfrm>
              <a:off x="6041036" y="3756893"/>
              <a:ext cx="2257380" cy="12102"/>
              <a:chOff x="6041036" y="3756893"/>
              <a:chExt cx="2257380" cy="12102"/>
            </a:xfrm>
          </p:grpSpPr>
          <p:sp>
            <p:nvSpPr>
              <p:cNvPr id="22" name="Line 37"/>
              <p:cNvSpPr>
                <a:spLocks noChangeShapeType="1"/>
              </p:cNvSpPr>
              <p:nvPr/>
            </p:nvSpPr>
            <p:spPr bwMode="auto">
              <a:xfrm flipV="1">
                <a:off x="6606416" y="3756893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23" name="Line 37"/>
              <p:cNvSpPr>
                <a:spLocks noChangeShapeType="1"/>
              </p:cNvSpPr>
              <p:nvPr/>
            </p:nvSpPr>
            <p:spPr bwMode="auto">
              <a:xfrm>
                <a:off x="6041036" y="3762528"/>
                <a:ext cx="590832" cy="6467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</p:grpSp>
      <p:sp>
        <p:nvSpPr>
          <p:cNvPr id="25" name="Рисунок 24"/>
          <p:cNvSpPr>
            <a:spLocks noGrp="1"/>
          </p:cNvSpPr>
          <p:nvPr userDrawn="1">
            <p:ph type="pic" sz="quarter" idx="12"/>
          </p:nvPr>
        </p:nvSpPr>
        <p:spPr>
          <a:xfrm>
            <a:off x="3998588" y="2849205"/>
            <a:ext cx="1829147" cy="1817143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39821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grpSp>
        <p:nvGrpSpPr>
          <p:cNvPr id="32" name="Группа 31"/>
          <p:cNvGrpSpPr>
            <a:grpSpLocks noChangeAspect="1"/>
          </p:cNvGrpSpPr>
          <p:nvPr userDrawn="1"/>
        </p:nvGrpSpPr>
        <p:grpSpPr>
          <a:xfrm>
            <a:off x="1201850" y="2415069"/>
            <a:ext cx="7326043" cy="2664933"/>
            <a:chOff x="1885967" y="2622509"/>
            <a:chExt cx="6399542" cy="2343289"/>
          </a:xfrm>
        </p:grpSpPr>
        <p:grpSp>
          <p:nvGrpSpPr>
            <p:cNvPr id="31" name="Группа 30"/>
            <p:cNvGrpSpPr/>
            <p:nvPr userDrawn="1"/>
          </p:nvGrpSpPr>
          <p:grpSpPr>
            <a:xfrm>
              <a:off x="1913606" y="2635065"/>
              <a:ext cx="2460102" cy="763340"/>
              <a:chOff x="1913606" y="2635065"/>
              <a:chExt cx="2460102" cy="763340"/>
            </a:xfrm>
          </p:grpSpPr>
          <p:sp>
            <p:nvSpPr>
              <p:cNvPr id="6" name="Line 37"/>
              <p:cNvSpPr>
                <a:spLocks noChangeShapeType="1"/>
              </p:cNvSpPr>
              <p:nvPr/>
            </p:nvSpPr>
            <p:spPr bwMode="auto">
              <a:xfrm flipH="1" flipV="1">
                <a:off x="1913606" y="2637953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7" name="Line 37"/>
              <p:cNvSpPr>
                <a:spLocks noChangeShapeType="1"/>
              </p:cNvSpPr>
              <p:nvPr/>
            </p:nvSpPr>
            <p:spPr bwMode="auto">
              <a:xfrm flipH="1" flipV="1">
                <a:off x="3605259" y="2635065"/>
                <a:ext cx="768449" cy="76334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30" name="Группа 29"/>
            <p:cNvGrpSpPr/>
            <p:nvPr userDrawn="1"/>
          </p:nvGrpSpPr>
          <p:grpSpPr>
            <a:xfrm>
              <a:off x="1885967" y="4204191"/>
              <a:ext cx="2455939" cy="761607"/>
              <a:chOff x="1885967" y="4204191"/>
              <a:chExt cx="2455939" cy="761607"/>
            </a:xfrm>
          </p:grpSpPr>
          <p:sp>
            <p:nvSpPr>
              <p:cNvPr id="9" name="Line 37"/>
              <p:cNvSpPr>
                <a:spLocks noChangeShapeType="1"/>
              </p:cNvSpPr>
              <p:nvPr/>
            </p:nvSpPr>
            <p:spPr bwMode="auto">
              <a:xfrm flipH="1">
                <a:off x="1885967" y="4965559"/>
                <a:ext cx="1691999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0" name="Line 37"/>
              <p:cNvSpPr>
                <a:spLocks noChangeShapeType="1"/>
              </p:cNvSpPr>
              <p:nvPr/>
            </p:nvSpPr>
            <p:spPr bwMode="auto">
              <a:xfrm flipH="1">
                <a:off x="3580043" y="4204191"/>
                <a:ext cx="761863" cy="761607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9" name="Группа 28"/>
            <p:cNvGrpSpPr/>
            <p:nvPr userDrawn="1"/>
          </p:nvGrpSpPr>
          <p:grpSpPr>
            <a:xfrm>
              <a:off x="5908929" y="4206627"/>
              <a:ext cx="2376580" cy="746378"/>
              <a:chOff x="5908929" y="4206627"/>
              <a:chExt cx="2376580" cy="746378"/>
            </a:xfrm>
          </p:grpSpPr>
          <p:sp>
            <p:nvSpPr>
              <p:cNvPr id="12" name="Line 37"/>
              <p:cNvSpPr>
                <a:spLocks noChangeShapeType="1"/>
              </p:cNvSpPr>
              <p:nvPr/>
            </p:nvSpPr>
            <p:spPr bwMode="auto">
              <a:xfrm>
                <a:off x="6597246" y="4953005"/>
                <a:ext cx="1688263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3" name="Line 37"/>
              <p:cNvSpPr>
                <a:spLocks noChangeShapeType="1"/>
              </p:cNvSpPr>
              <p:nvPr/>
            </p:nvSpPr>
            <p:spPr bwMode="auto">
              <a:xfrm>
                <a:off x="5908929" y="4206627"/>
                <a:ext cx="700870" cy="746378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8" name="Группа 27"/>
            <p:cNvGrpSpPr/>
            <p:nvPr userDrawn="1"/>
          </p:nvGrpSpPr>
          <p:grpSpPr>
            <a:xfrm>
              <a:off x="5881083" y="2622509"/>
              <a:ext cx="2401043" cy="792000"/>
              <a:chOff x="5881083" y="2622509"/>
              <a:chExt cx="2401043" cy="792000"/>
            </a:xfrm>
          </p:grpSpPr>
          <p:sp>
            <p:nvSpPr>
              <p:cNvPr id="15" name="Line 37"/>
              <p:cNvSpPr>
                <a:spLocks noChangeShapeType="1"/>
              </p:cNvSpPr>
              <p:nvPr/>
            </p:nvSpPr>
            <p:spPr bwMode="auto">
              <a:xfrm flipV="1">
                <a:off x="6593863" y="2625399"/>
                <a:ext cx="1688263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6" name="Line 37"/>
              <p:cNvSpPr>
                <a:spLocks noChangeShapeType="1"/>
              </p:cNvSpPr>
              <p:nvPr/>
            </p:nvSpPr>
            <p:spPr bwMode="auto">
              <a:xfrm flipV="1">
                <a:off x="5881083" y="2622509"/>
                <a:ext cx="714992" cy="79200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</p:grpSp>
      <p:sp>
        <p:nvSpPr>
          <p:cNvPr id="25" name="Рисунок 24"/>
          <p:cNvSpPr>
            <a:spLocks noGrp="1"/>
          </p:cNvSpPr>
          <p:nvPr userDrawn="1">
            <p:ph type="pic" sz="quarter" idx="12"/>
          </p:nvPr>
        </p:nvSpPr>
        <p:spPr>
          <a:xfrm>
            <a:off x="3998588" y="2849205"/>
            <a:ext cx="1829147" cy="1817143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695205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0" y="1303049"/>
            <a:ext cx="9906000" cy="445032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18534" y="5760051"/>
            <a:ext cx="8514457" cy="48069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524" baseline="0">
                <a:solidFill>
                  <a:schemeClr val="accent3"/>
                </a:solidFill>
              </a:defRPr>
            </a:lvl1pPr>
            <a:lvl2pPr>
              <a:spcBef>
                <a:spcPts val="0"/>
              </a:spcBef>
              <a:buClr>
                <a:schemeClr val="accent3"/>
              </a:buClr>
              <a:defRPr sz="1333" baseline="0"/>
            </a:lvl2pPr>
            <a:lvl3pPr marL="1226287" indent="-272130">
              <a:spcBef>
                <a:spcPts val="0"/>
              </a:spcBef>
              <a:buClr>
                <a:schemeClr val="accent3"/>
              </a:buClr>
              <a:buFont typeface="Arial" pitchFamily="34" charset="0"/>
              <a:buChar char="•"/>
              <a:defRPr sz="1333" baseline="0"/>
            </a:lvl3pPr>
            <a:lvl4pPr marL="1431234" indent="0">
              <a:buNone/>
              <a:defRPr/>
            </a:lvl4pPr>
            <a:lvl5pPr marL="1908311" indent="0">
              <a:buNone/>
              <a:defRPr/>
            </a:lvl5pPr>
          </a:lstStyle>
          <a:p>
            <a:pPr lvl="0"/>
            <a:r>
              <a:rPr lang="ru-RU" dirty="0" smtClean="0"/>
              <a:t>Комментарий к изображению (</a:t>
            </a:r>
            <a:r>
              <a:rPr lang="en-US" dirty="0" smtClean="0"/>
              <a:t>Calibri, 1</a:t>
            </a:r>
            <a:r>
              <a:rPr lang="ru-RU" dirty="0" smtClean="0"/>
              <a:t>6</a:t>
            </a:r>
            <a:r>
              <a:rPr lang="en-US" dirty="0" smtClean="0"/>
              <a:t>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1"/>
            <a:r>
              <a:rPr lang="ru-RU" dirty="0" smtClean="0"/>
              <a:t>Первый уровень (</a:t>
            </a:r>
            <a:r>
              <a:rPr lang="en-US" dirty="0" smtClean="0"/>
              <a:t>Calibri,</a:t>
            </a:r>
            <a:r>
              <a:rPr lang="ru-RU" dirty="0" smtClean="0"/>
              <a:t>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554926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1203540" y="1508881"/>
            <a:ext cx="3244148" cy="1988571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5414497" y="1508788"/>
            <a:ext cx="3244148" cy="1988571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1" name="Рисунок 5"/>
          <p:cNvSpPr>
            <a:spLocks noGrp="1"/>
          </p:cNvSpPr>
          <p:nvPr>
            <p:ph type="pic" sz="quarter" idx="14"/>
          </p:nvPr>
        </p:nvSpPr>
        <p:spPr>
          <a:xfrm>
            <a:off x="1207218" y="3837768"/>
            <a:ext cx="3244148" cy="1988571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5"/>
          </p:nvPr>
        </p:nvSpPr>
        <p:spPr>
          <a:xfrm>
            <a:off x="5418176" y="3837674"/>
            <a:ext cx="3244148" cy="1988571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1225125" y="3509481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21687" y="3509055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1225268" y="5858245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9" hasCustomPrompt="1"/>
          </p:nvPr>
        </p:nvSpPr>
        <p:spPr>
          <a:xfrm>
            <a:off x="5421830" y="5857821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702196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850223" y="1508881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6504212" y="1508787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847601" y="3473195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20"/>
          </p:nvPr>
        </p:nvSpPr>
        <p:spPr>
          <a:xfrm>
            <a:off x="3675208" y="1508787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 hasCustomPrompt="1"/>
          </p:nvPr>
        </p:nvSpPr>
        <p:spPr>
          <a:xfrm>
            <a:off x="3673897" y="3473389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 hasCustomPrompt="1"/>
          </p:nvPr>
        </p:nvSpPr>
        <p:spPr>
          <a:xfrm>
            <a:off x="6500195" y="3473389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23"/>
          </p:nvPr>
        </p:nvSpPr>
        <p:spPr>
          <a:xfrm>
            <a:off x="858379" y="3880847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24"/>
          </p:nvPr>
        </p:nvSpPr>
        <p:spPr>
          <a:xfrm>
            <a:off x="6512368" y="3880752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5" hasCustomPrompt="1"/>
          </p:nvPr>
        </p:nvSpPr>
        <p:spPr>
          <a:xfrm>
            <a:off x="855757" y="5845161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23" name="Рисунок 5"/>
          <p:cNvSpPr>
            <a:spLocks noGrp="1"/>
          </p:cNvSpPr>
          <p:nvPr>
            <p:ph type="pic" sz="quarter" idx="26"/>
          </p:nvPr>
        </p:nvSpPr>
        <p:spPr>
          <a:xfrm>
            <a:off x="3683365" y="3880752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4" name="Текст 12"/>
          <p:cNvSpPr>
            <a:spLocks noGrp="1"/>
          </p:cNvSpPr>
          <p:nvPr>
            <p:ph type="body" sz="quarter" idx="27" hasCustomPrompt="1"/>
          </p:nvPr>
        </p:nvSpPr>
        <p:spPr>
          <a:xfrm>
            <a:off x="3682053" y="5845356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25" name="Текст 12"/>
          <p:cNvSpPr>
            <a:spLocks noGrp="1"/>
          </p:cNvSpPr>
          <p:nvPr>
            <p:ph type="body" sz="quarter" idx="28" hasCustomPrompt="1"/>
          </p:nvPr>
        </p:nvSpPr>
        <p:spPr>
          <a:xfrm>
            <a:off x="6508351" y="5845356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10833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1223668" y="1508881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6263010" y="1508787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20"/>
          </p:nvPr>
        </p:nvSpPr>
        <p:spPr>
          <a:xfrm>
            <a:off x="3743339" y="1508787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23"/>
          </p:nvPr>
        </p:nvSpPr>
        <p:spPr>
          <a:xfrm>
            <a:off x="1231824" y="3085889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24"/>
          </p:nvPr>
        </p:nvSpPr>
        <p:spPr>
          <a:xfrm>
            <a:off x="6271167" y="3085794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3" name="Рисунок 5"/>
          <p:cNvSpPr>
            <a:spLocks noGrp="1"/>
          </p:cNvSpPr>
          <p:nvPr>
            <p:ph type="pic" sz="quarter" idx="26"/>
          </p:nvPr>
        </p:nvSpPr>
        <p:spPr>
          <a:xfrm>
            <a:off x="3751496" y="3085794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6" name="Рисунок 5"/>
          <p:cNvSpPr>
            <a:spLocks noGrp="1"/>
          </p:cNvSpPr>
          <p:nvPr>
            <p:ph type="pic" sz="quarter" idx="27"/>
          </p:nvPr>
        </p:nvSpPr>
        <p:spPr>
          <a:xfrm>
            <a:off x="1241377" y="4662896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7" name="Рисунок 5"/>
          <p:cNvSpPr>
            <a:spLocks noGrp="1"/>
          </p:cNvSpPr>
          <p:nvPr>
            <p:ph type="pic" sz="quarter" idx="28"/>
          </p:nvPr>
        </p:nvSpPr>
        <p:spPr>
          <a:xfrm>
            <a:off x="6280720" y="4662802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8" name="Рисунок 5"/>
          <p:cNvSpPr>
            <a:spLocks noGrp="1"/>
          </p:cNvSpPr>
          <p:nvPr>
            <p:ph type="pic" sz="quarter" idx="29"/>
          </p:nvPr>
        </p:nvSpPr>
        <p:spPr>
          <a:xfrm>
            <a:off x="3761048" y="4662802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05689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322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303546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B148DC-A899-4108-80E1-A8AA8154927C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1297881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04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9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18278" y="349865"/>
            <a:ext cx="1011495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918" b="1" dirty="0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816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18279" y="508600"/>
            <a:ext cx="2909451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18279" y="668955"/>
            <a:ext cx="2516715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pSp>
        <p:nvGrpSpPr>
          <p:cNvPr id="9" name="McK Title Elements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1" y="1"/>
            <a:ext cx="9902490" cy="6859620"/>
            <a:chOff x="0" y="0"/>
            <a:chExt cx="5643" cy="4235"/>
          </a:xfrm>
        </p:grpSpPr>
        <p:sp>
          <p:nvSpPr>
            <p:cNvPr id="10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76"/>
              <a:ext cx="3109" cy="1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Тип документа</a:t>
              </a:r>
            </a:p>
          </p:txBody>
        </p:sp>
        <p:sp>
          <p:nvSpPr>
            <p:cNvPr id="11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Дата</a:t>
              </a:r>
            </a:p>
          </p:txBody>
        </p:sp>
        <p:sp>
          <p:nvSpPr>
            <p:cNvPr id="12" name="McK Disclaimer" hidden="1"/>
            <p:cNvSpPr>
              <a:spLocks noChangeArrowheads="1"/>
            </p:cNvSpPr>
            <p:nvPr/>
          </p:nvSpPr>
          <p:spPr bwMode="auto">
            <a:xfrm>
              <a:off x="1663" y="3589"/>
              <a:ext cx="3226" cy="27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821202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21202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5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5"/>
            <a:ext cx="1809226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navigation8" descr="ujkm,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985" y="299654"/>
            <a:ext cx="1851343" cy="151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279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279" y="3945699"/>
            <a:ext cx="5455757" cy="21982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9419789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66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8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859772" y="1970589"/>
            <a:ext cx="193803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990417" y="4188829"/>
            <a:ext cx="167674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0387" y="27536"/>
            <a:ext cx="876843" cy="263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428" dirty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31613" y="945932"/>
            <a:ext cx="9526956" cy="30748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8" name="McK 4. Footnot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31613" y="6228458"/>
            <a:ext cx="9449744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9" name="McK 5. Source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1613" y="6579405"/>
            <a:ext cx="7586117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0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605668" y="1035018"/>
            <a:ext cx="4713466" cy="633321"/>
            <a:chOff x="915" y="639"/>
            <a:chExt cx="2686" cy="391"/>
          </a:xfrm>
        </p:grpSpPr>
        <p:cxnSp>
          <p:nvCxnSpPr>
            <p:cNvPr id="11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13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131613" y="6454684"/>
            <a:ext cx="963224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sp>
        <p:nvSpPr>
          <p:cNvPr id="14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40386" y="902198"/>
            <a:ext cx="962522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pic>
        <p:nvPicPr>
          <p:cNvPr id="15" name="navigation8" descr="ujkm,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9594" y="37255"/>
            <a:ext cx="980948" cy="801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Connector 5"/>
          <p:cNvCxnSpPr/>
          <p:nvPr>
            <p:custDataLst>
              <p:tags r:id="rId12"/>
            </p:custDataLst>
          </p:nvPr>
        </p:nvCxnSpPr>
        <p:spPr>
          <a:xfrm>
            <a:off x="8951374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17" name="Slide Number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446235" y="6629616"/>
            <a:ext cx="231637" cy="155496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fld id="{33B6FCEB-DD5C-44FE-8EF4-08F021D26B83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aphicFrame>
        <p:nvGraphicFramePr>
          <p:cNvPr id="18" name="Object 2"/>
          <p:cNvGraphicFramePr>
            <a:graphicFrameLocks noChangeAspect="1"/>
          </p:cNvGraphicFramePr>
          <p:nvPr/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67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18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47" y="301936"/>
            <a:ext cx="8684943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9846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966" y="293174"/>
            <a:ext cx="1814491" cy="1482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513457"/>
            <a:ext cx="8970433" cy="367413"/>
          </a:xfrm>
          <a:ln/>
        </p:spPr>
        <p:txBody>
          <a:bodyPr/>
          <a:lstStyle>
            <a:lvl1pPr>
              <a:lnSpc>
                <a:spcPct val="130000"/>
              </a:lnSpc>
              <a:defRPr sz="1837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499271"/>
            <a:ext cx="4055269" cy="219820"/>
          </a:xfrm>
          <a:ln/>
        </p:spPr>
        <p:txBody>
          <a:bodyPr anchor="ctr"/>
          <a:lstStyle>
            <a:lvl1pPr marL="0" indent="0">
              <a:buFontTx/>
              <a:buNone/>
              <a:defRPr sz="1428" b="1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429009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742950" y="6248400"/>
            <a:ext cx="206375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8400"/>
            <a:ext cx="31369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8400"/>
            <a:ext cx="206375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ja-JP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435637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9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9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18279" y="349865"/>
            <a:ext cx="1011495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918" b="1" dirty="0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816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18281" y="508600"/>
            <a:ext cx="2909451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18280" y="668955"/>
            <a:ext cx="2516715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pSp>
        <p:nvGrpSpPr>
          <p:cNvPr id="9" name="McK Title Elements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1" y="1"/>
            <a:ext cx="9902490" cy="6859620"/>
            <a:chOff x="0" y="0"/>
            <a:chExt cx="5643" cy="4235"/>
          </a:xfrm>
        </p:grpSpPr>
        <p:sp>
          <p:nvSpPr>
            <p:cNvPr id="10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76"/>
              <a:ext cx="3109" cy="1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Тип документа</a:t>
              </a:r>
            </a:p>
          </p:txBody>
        </p:sp>
        <p:sp>
          <p:nvSpPr>
            <p:cNvPr id="11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Дата</a:t>
              </a:r>
            </a:p>
          </p:txBody>
        </p:sp>
        <p:sp>
          <p:nvSpPr>
            <p:cNvPr id="12" name="McK Disclaimer" hidden="1"/>
            <p:cNvSpPr>
              <a:spLocks noChangeArrowheads="1"/>
            </p:cNvSpPr>
            <p:nvPr/>
          </p:nvSpPr>
          <p:spPr bwMode="auto">
            <a:xfrm>
              <a:off x="1663" y="3589"/>
              <a:ext cx="3226" cy="27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821202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21202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5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7"/>
            <a:ext cx="1809226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navigation8" descr="ujkm,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985" y="299654"/>
            <a:ext cx="1851343" cy="151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280" y="3175998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280" y="3945699"/>
            <a:ext cx="5455757" cy="21982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5050262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88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79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859773" y="1970589"/>
            <a:ext cx="193803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990418" y="4188829"/>
            <a:ext cx="167674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0388" y="27536"/>
            <a:ext cx="876843" cy="263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428" dirty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31614" y="945932"/>
            <a:ext cx="9526956" cy="30748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8" name="McK 4. Footnot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31614" y="6228460"/>
            <a:ext cx="9449744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9" name="McK 5. Source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1613" y="6579407"/>
            <a:ext cx="7586118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0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605668" y="1035020"/>
            <a:ext cx="4713466" cy="633321"/>
            <a:chOff x="915" y="639"/>
            <a:chExt cx="2686" cy="391"/>
          </a:xfrm>
        </p:grpSpPr>
        <p:cxnSp>
          <p:nvCxnSpPr>
            <p:cNvPr id="11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13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131613" y="6454684"/>
            <a:ext cx="963224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sp>
        <p:nvSpPr>
          <p:cNvPr id="14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40386" y="902198"/>
            <a:ext cx="962522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pic>
        <p:nvPicPr>
          <p:cNvPr id="15" name="navigation8" descr="ujkm,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9594" y="37257"/>
            <a:ext cx="980948" cy="801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Connector 5"/>
          <p:cNvCxnSpPr/>
          <p:nvPr>
            <p:custDataLst>
              <p:tags r:id="rId12"/>
            </p:custDataLst>
          </p:nvPr>
        </p:nvCxnSpPr>
        <p:spPr>
          <a:xfrm>
            <a:off x="8951374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17" name="Slide Number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446236" y="6629616"/>
            <a:ext cx="231637" cy="155496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fld id="{33B6FCEB-DD5C-44FE-8EF4-08F021D26B83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aphicFrame>
        <p:nvGraphicFramePr>
          <p:cNvPr id="18" name="Object 2"/>
          <p:cNvGraphicFramePr>
            <a:graphicFrameLocks noChangeAspect="1"/>
          </p:cNvGraphicFramePr>
          <p:nvPr/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89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17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48" y="301936"/>
            <a:ext cx="8684943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407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967" y="293174"/>
            <a:ext cx="1814491" cy="1482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1" y="2513459"/>
            <a:ext cx="8970433" cy="367413"/>
          </a:xfrm>
          <a:ln/>
        </p:spPr>
        <p:txBody>
          <a:bodyPr/>
          <a:lstStyle>
            <a:lvl1pPr>
              <a:lnSpc>
                <a:spcPct val="130000"/>
              </a:lnSpc>
              <a:defRPr sz="1837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1" y="3499271"/>
            <a:ext cx="4055269" cy="219820"/>
          </a:xfrm>
          <a:ln/>
        </p:spPr>
        <p:txBody>
          <a:bodyPr anchor="ctr"/>
          <a:lstStyle>
            <a:lvl1pPr marL="0" indent="0">
              <a:buFontTx/>
              <a:buNone/>
              <a:defRPr sz="1428" b="1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485325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742950" y="6248400"/>
            <a:ext cx="206375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8400"/>
            <a:ext cx="31369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8400"/>
            <a:ext cx="206375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ja-JP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908502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2959763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630594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8"/>
            <a:ext cx="8420100" cy="1362075"/>
          </a:xfrm>
        </p:spPr>
        <p:txBody>
          <a:bodyPr anchor="t"/>
          <a:lstStyle>
            <a:lvl1pPr algn="l">
              <a:defRPr sz="4191" b="1" cap="all">
                <a:solidFill>
                  <a:srgbClr val="0D6186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95">
                <a:solidFill>
                  <a:schemeClr val="accent4"/>
                </a:solidFill>
              </a:defRPr>
            </a:lvl1pPr>
            <a:lvl2pPr marL="477078" indent="0">
              <a:buNone/>
              <a:defRPr sz="1905"/>
            </a:lvl2pPr>
            <a:lvl3pPr marL="954155" indent="0">
              <a:buNone/>
              <a:defRPr sz="1714"/>
            </a:lvl3pPr>
            <a:lvl4pPr marL="1431234" indent="0">
              <a:buNone/>
              <a:defRPr sz="1429"/>
            </a:lvl4pPr>
            <a:lvl5pPr marL="1908311" indent="0">
              <a:buNone/>
              <a:defRPr sz="1429"/>
            </a:lvl5pPr>
            <a:lvl6pPr marL="2385390" indent="0">
              <a:buNone/>
              <a:defRPr sz="1429"/>
            </a:lvl6pPr>
            <a:lvl7pPr marL="2862468" indent="0">
              <a:buNone/>
              <a:defRPr sz="1429"/>
            </a:lvl7pPr>
            <a:lvl8pPr marL="3339546" indent="0">
              <a:buNone/>
              <a:defRPr sz="1429"/>
            </a:lvl8pPr>
            <a:lvl9pPr marL="3816624" indent="0">
              <a:buNone/>
              <a:defRPr sz="1429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ADE5BF-2111-44D3-B6B6-E84876A33987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033782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225034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622744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355452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989433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786694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931750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3049194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819362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831337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7790352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54" y="1125539"/>
            <a:ext cx="4480057" cy="5148262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095">
                <a:latin typeface="Microsoft Sans Serif"/>
                <a:cs typeface="Microsoft Sans Serif"/>
              </a:defRPr>
            </a:lvl3pPr>
            <a:lvl4pPr>
              <a:defRPr sz="1905">
                <a:latin typeface="Microsoft Sans Serif"/>
                <a:cs typeface="Microsoft Sans Serif"/>
              </a:defRPr>
            </a:lvl4pPr>
            <a:lvl5pPr>
              <a:defRPr sz="1905">
                <a:latin typeface="Microsoft Sans Serif"/>
                <a:cs typeface="Microsoft Sans Serif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10" y="1125539"/>
            <a:ext cx="4481777" cy="5148262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095">
                <a:latin typeface="Microsoft Sans Serif"/>
                <a:cs typeface="Microsoft Sans Serif"/>
              </a:defRPr>
            </a:lvl3pPr>
            <a:lvl4pPr>
              <a:defRPr sz="1905">
                <a:latin typeface="Microsoft Sans Serif"/>
                <a:cs typeface="Microsoft Sans Serif"/>
              </a:defRPr>
            </a:lvl4pPr>
            <a:lvl5pPr>
              <a:defRPr sz="1905">
                <a:latin typeface="Microsoft Sans Serif"/>
                <a:cs typeface="Microsoft Sans Serif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327D1E-8760-4F75-8A65-E901FBF993B8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645044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321537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495835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966310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6371358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06419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831662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649112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217700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7679881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98065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2" y="1535113"/>
            <a:ext cx="4376870" cy="639762"/>
          </a:xfrm>
        </p:spPr>
        <p:txBody>
          <a:bodyPr anchor="b"/>
          <a:lstStyle>
            <a:lvl1pPr marL="0" indent="0">
              <a:buNone/>
              <a:defRPr sz="2476" b="1"/>
            </a:lvl1pPr>
            <a:lvl2pPr marL="477078" indent="0">
              <a:buNone/>
              <a:defRPr sz="2095" b="1"/>
            </a:lvl2pPr>
            <a:lvl3pPr marL="954155" indent="0">
              <a:buNone/>
              <a:defRPr sz="1905" b="1"/>
            </a:lvl3pPr>
            <a:lvl4pPr marL="1431234" indent="0">
              <a:buNone/>
              <a:defRPr sz="1714" b="1"/>
            </a:lvl4pPr>
            <a:lvl5pPr marL="1908311" indent="0">
              <a:buNone/>
              <a:defRPr sz="1714" b="1"/>
            </a:lvl5pPr>
            <a:lvl6pPr marL="2385390" indent="0">
              <a:buNone/>
              <a:defRPr sz="1714" b="1"/>
            </a:lvl6pPr>
            <a:lvl7pPr marL="2862468" indent="0">
              <a:buNone/>
              <a:defRPr sz="1714" b="1"/>
            </a:lvl7pPr>
            <a:lvl8pPr marL="3339546" indent="0">
              <a:buNone/>
              <a:defRPr sz="1714" b="1"/>
            </a:lvl8pPr>
            <a:lvl9pPr marL="3816624" indent="0">
              <a:buNone/>
              <a:defRPr sz="1714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2" y="2174875"/>
            <a:ext cx="4376870" cy="3951288"/>
          </a:xfrm>
        </p:spPr>
        <p:txBody>
          <a:bodyPr/>
          <a:lstStyle>
            <a:lvl1pPr>
              <a:defRPr sz="2476"/>
            </a:lvl1pPr>
            <a:lvl2pPr>
              <a:defRPr sz="2095"/>
            </a:lvl2pPr>
            <a:lvl3pPr>
              <a:defRPr sz="1905">
                <a:latin typeface="Microsoft Sans Serif"/>
                <a:cs typeface="Microsoft Sans Serif"/>
              </a:defRPr>
            </a:lvl3pPr>
            <a:lvl4pPr>
              <a:defRPr sz="1714">
                <a:latin typeface="Microsoft Sans Serif"/>
                <a:cs typeface="Microsoft Sans Serif"/>
              </a:defRPr>
            </a:lvl4pPr>
            <a:lvl5pPr>
              <a:defRPr sz="1714">
                <a:latin typeface="Microsoft Sans Serif"/>
                <a:cs typeface="Microsoft Sans Serif"/>
              </a:defRPr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89" cy="639762"/>
          </a:xfrm>
        </p:spPr>
        <p:txBody>
          <a:bodyPr anchor="b"/>
          <a:lstStyle>
            <a:lvl1pPr marL="0" indent="0">
              <a:buNone/>
              <a:defRPr sz="2476" b="1"/>
            </a:lvl1pPr>
            <a:lvl2pPr marL="477078" indent="0">
              <a:buNone/>
              <a:defRPr sz="2095" b="1"/>
            </a:lvl2pPr>
            <a:lvl3pPr marL="954155" indent="0">
              <a:buNone/>
              <a:defRPr sz="1905" b="1"/>
            </a:lvl3pPr>
            <a:lvl4pPr marL="1431234" indent="0">
              <a:buNone/>
              <a:defRPr sz="1714" b="1"/>
            </a:lvl4pPr>
            <a:lvl5pPr marL="1908311" indent="0">
              <a:buNone/>
              <a:defRPr sz="1714" b="1"/>
            </a:lvl5pPr>
            <a:lvl6pPr marL="2385390" indent="0">
              <a:buNone/>
              <a:defRPr sz="1714" b="1"/>
            </a:lvl6pPr>
            <a:lvl7pPr marL="2862468" indent="0">
              <a:buNone/>
              <a:defRPr sz="1714" b="1"/>
            </a:lvl7pPr>
            <a:lvl8pPr marL="3339546" indent="0">
              <a:buNone/>
              <a:defRPr sz="1714" b="1"/>
            </a:lvl8pPr>
            <a:lvl9pPr marL="3816624" indent="0">
              <a:buNone/>
              <a:defRPr sz="1714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89" cy="3951288"/>
          </a:xfrm>
        </p:spPr>
        <p:txBody>
          <a:bodyPr/>
          <a:lstStyle>
            <a:lvl1pPr>
              <a:defRPr sz="2476"/>
            </a:lvl1pPr>
            <a:lvl2pPr>
              <a:defRPr sz="2095"/>
            </a:lvl2pPr>
            <a:lvl3pPr>
              <a:defRPr sz="1905">
                <a:latin typeface="Microsoft Sans Serif"/>
                <a:cs typeface="Microsoft Sans Serif"/>
              </a:defRPr>
            </a:lvl3pPr>
            <a:lvl4pPr>
              <a:defRPr sz="1714">
                <a:latin typeface="Microsoft Sans Serif"/>
                <a:cs typeface="Microsoft Sans Serif"/>
              </a:defRPr>
            </a:lvl4pPr>
            <a:lvl5pPr>
              <a:defRPr sz="1714">
                <a:latin typeface="Microsoft Sans Serif"/>
                <a:cs typeface="Microsoft Sans Serif"/>
              </a:defRPr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766AFC-AA4B-411A-9543-C99A410D6C67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649925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241230319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1271504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602975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33574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411972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952908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177879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875047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406325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07260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FB4AB1-B8EC-415D-AE03-A9C01327FDA6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6416357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636692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37064815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818922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768469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913117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210990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069361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4295131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868725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1613579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25F091-A418-48E2-B21B-9DD2A9739E1C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075619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588309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5964566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82932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13284126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609799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139995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134062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3186763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7034523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26756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1176261"/>
            <a:ext cx="3259005" cy="1019356"/>
          </a:xfrm>
        </p:spPr>
        <p:txBody>
          <a:bodyPr anchor="b"/>
          <a:lstStyle>
            <a:lvl1pPr algn="l">
              <a:defRPr sz="209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1176288"/>
            <a:ext cx="5537729" cy="5134378"/>
          </a:xfrm>
        </p:spPr>
        <p:txBody>
          <a:bodyPr/>
          <a:lstStyle>
            <a:lvl1pPr>
              <a:defRPr sz="3333"/>
            </a:lvl1pPr>
            <a:lvl2pPr>
              <a:defRPr sz="2952"/>
            </a:lvl2pPr>
            <a:lvl3pPr>
              <a:defRPr sz="2476">
                <a:latin typeface="Microsoft Sans Serif"/>
                <a:cs typeface="Microsoft Sans Serif"/>
              </a:defRPr>
            </a:lvl3pPr>
            <a:lvl4pPr>
              <a:defRPr sz="2095">
                <a:latin typeface="Microsoft Sans Serif"/>
                <a:cs typeface="Microsoft Sans Serif"/>
              </a:defRPr>
            </a:lvl4pPr>
            <a:lvl5pPr>
              <a:defRPr sz="2095">
                <a:latin typeface="Microsoft Sans Serif"/>
                <a:cs typeface="Microsoft Sans Serif"/>
              </a:defRPr>
            </a:lvl5pPr>
            <a:lvl6pPr>
              <a:defRPr sz="2095"/>
            </a:lvl6pPr>
            <a:lvl7pPr>
              <a:defRPr sz="2095"/>
            </a:lvl7pPr>
            <a:lvl8pPr>
              <a:defRPr sz="2095"/>
            </a:lvl8pPr>
            <a:lvl9pPr>
              <a:defRPr sz="2095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2338317"/>
            <a:ext cx="3259005" cy="4115022"/>
          </a:xfrm>
        </p:spPr>
        <p:txBody>
          <a:bodyPr/>
          <a:lstStyle>
            <a:lvl1pPr marL="0" indent="0">
              <a:buNone/>
              <a:defRPr sz="1429"/>
            </a:lvl1pPr>
            <a:lvl2pPr marL="477078" indent="0">
              <a:buNone/>
              <a:defRPr sz="1238"/>
            </a:lvl2pPr>
            <a:lvl3pPr marL="954155" indent="0">
              <a:buNone/>
              <a:defRPr sz="1048"/>
            </a:lvl3pPr>
            <a:lvl4pPr marL="1431234" indent="0">
              <a:buNone/>
              <a:defRPr sz="952"/>
            </a:lvl4pPr>
            <a:lvl5pPr marL="1908311" indent="0">
              <a:buNone/>
              <a:defRPr sz="952"/>
            </a:lvl5pPr>
            <a:lvl6pPr marL="2385390" indent="0">
              <a:buNone/>
              <a:defRPr sz="952"/>
            </a:lvl6pPr>
            <a:lvl7pPr marL="2862468" indent="0">
              <a:buNone/>
              <a:defRPr sz="952"/>
            </a:lvl7pPr>
            <a:lvl8pPr marL="3339546" indent="0">
              <a:buNone/>
              <a:defRPr sz="952"/>
            </a:lvl8pPr>
            <a:lvl9pPr marL="3816624" indent="0">
              <a:buNone/>
              <a:defRPr sz="95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1AA80B-22DD-4FF4-9344-A437B7BC5601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432188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3514131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361926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123170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917401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6356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56906863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685063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040345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225577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64369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9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image" Target="../media/image13.png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image" Target="../media/image12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08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5" Type="http://schemas.openxmlformats.org/officeDocument/2006/relationships/image" Target="../media/image13.png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image" Target="../media/image15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image" Target="../media/image13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6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34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Relationship Id="rId14" Type="http://schemas.openxmlformats.org/officeDocument/2006/relationships/image" Target="../media/image13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47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4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image" Target="../media/image1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26" Type="http://schemas.openxmlformats.org/officeDocument/2006/relationships/slideLayout" Target="../slideLayouts/slideLayout27.xml"/><Relationship Id="rId3" Type="http://schemas.openxmlformats.org/officeDocument/2006/relationships/slideLayout" Target="../slideLayouts/slideLayout4.xml"/><Relationship Id="rId21" Type="http://schemas.openxmlformats.org/officeDocument/2006/relationships/slideLayout" Target="../slideLayouts/slideLayout22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slideLayout" Target="../slideLayouts/slideLayout26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slideLayout" Target="../slideLayouts/slideLayout21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slideLayout" Target="../slideLayouts/slideLayout25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28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Relationship Id="rId27" Type="http://schemas.openxmlformats.org/officeDocument/2006/relationships/slideLayout" Target="../slideLayouts/slideLayout28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32.xml"/><Relationship Id="rId21" Type="http://schemas.openxmlformats.org/officeDocument/2006/relationships/oleObject" Target="../embeddings/oleObject1.bin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" Type="http://schemas.openxmlformats.org/officeDocument/2006/relationships/slideLayout" Target="../slideLayouts/slideLayout31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30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5" Type="http://schemas.openxmlformats.org/officeDocument/2006/relationships/theme" Target="../theme/theme3.xml"/><Relationship Id="rId15" Type="http://schemas.openxmlformats.org/officeDocument/2006/relationships/tags" Target="../tags/tag9.xml"/><Relationship Id="rId23" Type="http://schemas.openxmlformats.org/officeDocument/2006/relationships/image" Target="../media/image9.png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image" Target="../media/image8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3" Type="http://schemas.openxmlformats.org/officeDocument/2006/relationships/slideLayout" Target="../slideLayouts/slideLayout36.xml"/><Relationship Id="rId21" Type="http://schemas.openxmlformats.org/officeDocument/2006/relationships/oleObject" Target="../embeddings/oleObject5.bin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1" Type="http://schemas.openxmlformats.org/officeDocument/2006/relationships/slideLayout" Target="../slideLayouts/slideLayout34.xml"/><Relationship Id="rId6" Type="http://schemas.openxmlformats.org/officeDocument/2006/relationships/vmlDrawing" Target="../drawings/vmlDrawing4.vml"/><Relationship Id="rId11" Type="http://schemas.openxmlformats.org/officeDocument/2006/relationships/tags" Target="../tags/tag38.xml"/><Relationship Id="rId5" Type="http://schemas.openxmlformats.org/officeDocument/2006/relationships/theme" Target="../theme/theme4.xml"/><Relationship Id="rId15" Type="http://schemas.openxmlformats.org/officeDocument/2006/relationships/tags" Target="../tags/tag42.xml"/><Relationship Id="rId23" Type="http://schemas.openxmlformats.org/officeDocument/2006/relationships/image" Target="../media/image9.png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image" Target="../media/image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image" Target="../media/image13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image" Target="../media/image13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image" Target="../media/image13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image" Target="../media/image13.png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image" Target="../media/image12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image" Target="../media/image13.png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32332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hf hdr="0" ftr="0" dt="0"/>
  <p:txStyles>
    <p:titleStyle>
      <a:lvl1pPr algn="ctr" defTabSz="870875" rtl="0" eaLnBrk="1" latinLnBrk="0" hangingPunct="1">
        <a:spcBef>
          <a:spcPct val="0"/>
        </a:spcBef>
        <a:buNone/>
        <a:defRPr sz="419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6578" indent="-326578" algn="l" defTabSz="870875" rtl="0" eaLnBrk="1" latinLnBrk="0" hangingPunct="1">
        <a:spcBef>
          <a:spcPct val="20000"/>
        </a:spcBef>
        <a:buFont typeface="Arial" pitchFamily="34" charset="0"/>
        <a:buChar char="•"/>
        <a:defRPr sz="3048" kern="1200">
          <a:solidFill>
            <a:schemeClr val="tx1"/>
          </a:solidFill>
          <a:latin typeface="+mn-lt"/>
          <a:ea typeface="+mn-ea"/>
          <a:cs typeface="+mn-cs"/>
        </a:defRPr>
      </a:lvl1pPr>
      <a:lvl2pPr marL="707586" indent="-272148" algn="l" defTabSz="870875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088593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2286" kern="1200">
          <a:solidFill>
            <a:schemeClr val="tx1"/>
          </a:solidFill>
          <a:latin typeface="+mn-lt"/>
          <a:ea typeface="+mn-ea"/>
          <a:cs typeface="+mn-cs"/>
        </a:defRPr>
      </a:lvl3pPr>
      <a:lvl4pPr marL="1524030" indent="-217719" algn="l" defTabSz="870875" rtl="0" eaLnBrk="1" latinLnBrk="0" hangingPunct="1">
        <a:spcBef>
          <a:spcPct val="20000"/>
        </a:spcBef>
        <a:buFont typeface="Arial" pitchFamily="34" charset="0"/>
        <a:buChar char="–"/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59468" indent="-217719" algn="l" defTabSz="870875" rtl="0" eaLnBrk="1" latinLnBrk="0" hangingPunct="1">
        <a:spcBef>
          <a:spcPct val="20000"/>
        </a:spcBef>
        <a:buFont typeface="Arial" pitchFamily="34" charset="0"/>
        <a:buChar char="»"/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394905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30342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265780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701217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1pPr>
      <a:lvl2pPr marL="435437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2pPr>
      <a:lvl3pPr marL="870875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3pPr>
      <a:lvl4pPr marL="1306312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4pPr>
      <a:lvl5pPr marL="1741749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5pPr>
      <a:lvl6pPr marL="2177186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612624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048061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483498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7910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  <p:sldLayoutId id="2147483844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51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8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1105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  <p:sldLayoutId id="2147483858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582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165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748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331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433" indent="-18043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287" indent="-17726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58562" indent="-2674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0291" indent="-2279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67066" indent="-2279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2895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8725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34556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0386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25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651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481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316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151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982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813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644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445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4445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5662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  <p:sldLayoutId id="2147483894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8468"/>
            <a:ext cx="8229364" cy="980728"/>
            <a:chOff x="0" y="2505596"/>
            <a:chExt cx="6696744" cy="1707025"/>
          </a:xfrm>
        </p:grpSpPr>
        <p:sp>
          <p:nvSpPr>
            <p:cNvPr id="2" name="Rectangle 1"/>
            <p:cNvSpPr/>
            <p:nvPr userDrawn="1"/>
          </p:nvSpPr>
          <p:spPr>
            <a:xfrm>
              <a:off x="0" y="3636557"/>
              <a:ext cx="6696744" cy="5760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0" y="3068960"/>
              <a:ext cx="6696744" cy="5760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3E87BD"/>
                </a:solidFill>
                <a:cs typeface="Microsoft Sans Serif"/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0" y="2505596"/>
              <a:ext cx="6696744" cy="5760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</p:grpSp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65468" y="63813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714" b="1">
                <a:solidFill>
                  <a:schemeClr val="accent2"/>
                </a:solidFill>
                <a:latin typeface="Microsoft Sans Serif"/>
                <a:cs typeface="Microsoft Sans Serif"/>
              </a:defRPr>
            </a:lvl1pPr>
          </a:lstStyle>
          <a:p>
            <a:pPr defTabSz="954155">
              <a:defRPr/>
            </a:pPr>
            <a:fld id="{78BE5482-BCD3-488D-889D-C7CA54C942EE}" type="slidenum">
              <a:rPr lang="ru-RU" smtClean="0">
                <a:solidFill>
                  <a:srgbClr val="0D6186"/>
                </a:solidFill>
              </a:rPr>
              <a:pPr defTabSz="954155"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9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6" name="Rectangle 5"/>
          <p:cNvSpPr/>
          <p:nvPr/>
        </p:nvSpPr>
        <p:spPr>
          <a:xfrm rot="10800000">
            <a:off x="6981226" y="1"/>
            <a:ext cx="1610396" cy="1105519"/>
          </a:xfrm>
          <a:custGeom>
            <a:avLst/>
            <a:gdLst>
              <a:gd name="connsiteX0" fmla="*/ 0 w 1080120"/>
              <a:gd name="connsiteY0" fmla="*/ 0 h 1080120"/>
              <a:gd name="connsiteX1" fmla="*/ 1080120 w 1080120"/>
              <a:gd name="connsiteY1" fmla="*/ 0 h 1080120"/>
              <a:gd name="connsiteX2" fmla="*/ 1080120 w 1080120"/>
              <a:gd name="connsiteY2" fmla="*/ 1080120 h 1080120"/>
              <a:gd name="connsiteX3" fmla="*/ 0 w 1080120"/>
              <a:gd name="connsiteY3" fmla="*/ 1080120 h 1080120"/>
              <a:gd name="connsiteX4" fmla="*/ 0 w 1080120"/>
              <a:gd name="connsiteY4" fmla="*/ 0 h 1080120"/>
              <a:gd name="connsiteX0" fmla="*/ 0 w 1080120"/>
              <a:gd name="connsiteY0" fmla="*/ 0 h 1088587"/>
              <a:gd name="connsiteX1" fmla="*/ 1080120 w 1080120"/>
              <a:gd name="connsiteY1" fmla="*/ 0 h 1088587"/>
              <a:gd name="connsiteX2" fmla="*/ 97986 w 1080120"/>
              <a:gd name="connsiteY2" fmla="*/ 1088587 h 1088587"/>
              <a:gd name="connsiteX3" fmla="*/ 0 w 1080120"/>
              <a:gd name="connsiteY3" fmla="*/ 1080120 h 1088587"/>
              <a:gd name="connsiteX4" fmla="*/ 0 w 1080120"/>
              <a:gd name="connsiteY4" fmla="*/ 0 h 1088587"/>
              <a:gd name="connsiteX0" fmla="*/ 406400 w 1486520"/>
              <a:gd name="connsiteY0" fmla="*/ 0 h 1097053"/>
              <a:gd name="connsiteX1" fmla="*/ 1486520 w 1486520"/>
              <a:gd name="connsiteY1" fmla="*/ 0 h 1097053"/>
              <a:gd name="connsiteX2" fmla="*/ 504386 w 1486520"/>
              <a:gd name="connsiteY2" fmla="*/ 1088587 h 1097053"/>
              <a:gd name="connsiteX3" fmla="*/ 0 w 1486520"/>
              <a:gd name="connsiteY3" fmla="*/ 1097053 h 1097053"/>
              <a:gd name="connsiteX4" fmla="*/ 406400 w 1486520"/>
              <a:gd name="connsiteY4" fmla="*/ 0 h 1097053"/>
              <a:gd name="connsiteX0" fmla="*/ 8466 w 1486520"/>
              <a:gd name="connsiteY0" fmla="*/ 0 h 1105519"/>
              <a:gd name="connsiteX1" fmla="*/ 1486520 w 1486520"/>
              <a:gd name="connsiteY1" fmla="*/ 8466 h 1105519"/>
              <a:gd name="connsiteX2" fmla="*/ 504386 w 1486520"/>
              <a:gd name="connsiteY2" fmla="*/ 1097053 h 1105519"/>
              <a:gd name="connsiteX3" fmla="*/ 0 w 1486520"/>
              <a:gd name="connsiteY3" fmla="*/ 1105519 h 1105519"/>
              <a:gd name="connsiteX4" fmla="*/ 8466 w 1486520"/>
              <a:gd name="connsiteY4" fmla="*/ 0 h 110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6520" h="1105519">
                <a:moveTo>
                  <a:pt x="8466" y="0"/>
                </a:moveTo>
                <a:lnTo>
                  <a:pt x="1486520" y="8466"/>
                </a:lnTo>
                <a:lnTo>
                  <a:pt x="504386" y="1097053"/>
                </a:lnTo>
                <a:lnTo>
                  <a:pt x="0" y="1105519"/>
                </a:lnTo>
                <a:lnTo>
                  <a:pt x="846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420" tIns="47710" rIns="95420" bIns="47710" rtlCol="0" anchor="ctr"/>
          <a:lstStyle/>
          <a:p>
            <a:pPr algn="ctr" defTabSz="954155"/>
            <a:endParaRPr lang="en-US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1"/>
            <a:ext cx="686393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6269" y="188640"/>
            <a:ext cx="873268" cy="713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46"/>
          <p:cNvPicPr>
            <a:picLocks noChangeAspect="1"/>
          </p:cNvPicPr>
          <p:nvPr/>
        </p:nvPicPr>
        <p:blipFill rotWithShape="1">
          <a:blip r:embed="rId3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17330" y="205574"/>
            <a:ext cx="942042" cy="671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735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  <p:sldLayoutId id="2147483746" r:id="rId18"/>
    <p:sldLayoutId id="2147483747" r:id="rId19"/>
    <p:sldLayoutId id="2147483748" r:id="rId20"/>
    <p:sldLayoutId id="2147483749" r:id="rId21"/>
    <p:sldLayoutId id="2147483750" r:id="rId22"/>
    <p:sldLayoutId id="2147483751" r:id="rId23"/>
    <p:sldLayoutId id="2147483752" r:id="rId24"/>
    <p:sldLayoutId id="2147483753" r:id="rId25"/>
    <p:sldLayoutId id="2147483754" r:id="rId26"/>
    <p:sldLayoutId id="2147483755" r:id="rId27"/>
    <p:sldLayoutId id="2147483895" r:id="rId28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accent3"/>
          </a:solidFill>
          <a:latin typeface="Microsoft Sans Serif"/>
          <a:ea typeface="+mj-ea"/>
          <a:cs typeface="Microsoft Sans Serif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5pPr>
      <a:lvl6pPr marL="477109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6pPr>
      <a:lvl7pPr marL="954217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7pPr>
      <a:lvl8pPr marL="1431326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8pPr>
      <a:lvl9pPr marL="1908434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8855" indent="-18885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Clr>
          <a:schemeClr val="accent2"/>
        </a:buClr>
        <a:buSzPct val="150000"/>
        <a:buFont typeface="Arial"/>
        <a:buChar char="•"/>
        <a:defRPr sz="1714">
          <a:solidFill>
            <a:schemeClr val="tx1"/>
          </a:solidFill>
          <a:latin typeface="Microsoft Sans Serif"/>
          <a:ea typeface="+mn-ea"/>
          <a:cs typeface="Microsoft Sans Serif"/>
        </a:defRPr>
      </a:lvl1pPr>
      <a:lvl2pPr marL="376055" indent="-185542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Clr>
          <a:schemeClr val="accent2"/>
        </a:buClr>
        <a:buSzPct val="150000"/>
        <a:buFont typeface="Arial"/>
        <a:buChar char="•"/>
        <a:defRPr sz="1429">
          <a:solidFill>
            <a:schemeClr val="tx1"/>
          </a:solidFill>
          <a:latin typeface="Microsoft Sans Serif"/>
          <a:cs typeface="Microsoft Sans Serif"/>
        </a:defRPr>
      </a:lvl2pPr>
      <a:lvl3pPr marL="1212651" indent="-279970" algn="l" rtl="0" eaLnBrk="0" fontAlgn="base" hangingPunct="0">
        <a:spcBef>
          <a:spcPct val="0"/>
        </a:spcBef>
        <a:spcAft>
          <a:spcPct val="30000"/>
        </a:spcAft>
        <a:buBlip>
          <a:blip r:embed="rId32"/>
        </a:buBlip>
        <a:defRPr sz="2286">
          <a:solidFill>
            <a:schemeClr val="tx1"/>
          </a:solidFill>
          <a:latin typeface="+mn-lt"/>
          <a:cs typeface="+mn-cs"/>
        </a:defRPr>
      </a:lvl3pPr>
      <a:lvl4pPr marL="1737802" indent="-238554" algn="l" rtl="0" eaLnBrk="0" fontAlgn="base" hangingPunct="0">
        <a:spcBef>
          <a:spcPct val="20000"/>
        </a:spcBef>
        <a:spcAft>
          <a:spcPct val="0"/>
        </a:spcAft>
        <a:buChar char="–"/>
        <a:defRPr sz="2095">
          <a:solidFill>
            <a:schemeClr val="tx1"/>
          </a:solidFill>
          <a:latin typeface="+mn-lt"/>
          <a:cs typeface="+mn-cs"/>
        </a:defRPr>
      </a:lvl4pPr>
      <a:lvl5pPr marL="2163555" indent="-238554" algn="l" rtl="0" eaLnBrk="0" fontAlgn="base" hangingPunct="0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5pPr>
      <a:lvl6pPr marL="2640663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6pPr>
      <a:lvl7pPr marL="3117772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7pPr>
      <a:lvl8pPr marL="3594881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8pPr>
      <a:lvl9pPr marL="4071990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77109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54217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31326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08434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385543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62652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39760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16869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03" name="Object 215"/>
          <p:cNvGraphicFramePr>
            <a:graphicFrameLocks noChangeAspect="1"/>
          </p:cNvGraphicFramePr>
          <p:nvPr/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1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9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859772" y="1970589"/>
            <a:ext cx="193803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990417" y="4188829"/>
            <a:ext cx="167674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2507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605668" y="1990667"/>
            <a:ext cx="4755582" cy="125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12508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40386" y="301273"/>
            <a:ext cx="8607428" cy="299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40387" y="27536"/>
            <a:ext cx="876843" cy="263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428" dirty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1613" y="945932"/>
            <a:ext cx="9526956" cy="30748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31613" y="6228458"/>
            <a:ext cx="9449744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31613" y="6579405"/>
            <a:ext cx="7586117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2513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605668" y="1035018"/>
            <a:ext cx="4713466" cy="633321"/>
            <a:chOff x="915" y="639"/>
            <a:chExt cx="2686" cy="391"/>
          </a:xfrm>
        </p:grpSpPr>
        <p:cxnSp>
          <p:nvCxnSpPr>
            <p:cNvPr id="1251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131613" y="6454684"/>
            <a:ext cx="963224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140386" y="902198"/>
            <a:ext cx="962522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pic>
        <p:nvPicPr>
          <p:cNvPr id="12516" name="navigation8" descr="ujkm,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9594" y="37255"/>
            <a:ext cx="980948" cy="801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>
            <p:custDataLst>
              <p:tags r:id="rId19"/>
            </p:custDataLst>
          </p:nvPr>
        </p:nvCxnSpPr>
        <p:spPr>
          <a:xfrm>
            <a:off x="8951374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29" name="Slide Number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9446235" y="6629616"/>
            <a:ext cx="231637" cy="155496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fld id="{4AB8EE8F-8FB5-4462-A918-B78ABC876090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72964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2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Char char="•"/>
        <a:defRPr sz="1632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  <a:cs typeface="Arial"/>
        </a:defRPr>
      </a:lvl4pPr>
      <a:lvl5pPr marL="764511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03" name="Object 215"/>
          <p:cNvGraphicFramePr>
            <a:graphicFrameLocks noChangeAspect="1"/>
          </p:cNvGraphicFramePr>
          <p:nvPr/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76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9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859773" y="1970589"/>
            <a:ext cx="193803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990418" y="4188829"/>
            <a:ext cx="167674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2507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605668" y="1990667"/>
            <a:ext cx="4755582" cy="125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12508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40386" y="301273"/>
            <a:ext cx="8607428" cy="299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40388" y="27536"/>
            <a:ext cx="876843" cy="263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428" dirty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1614" y="945932"/>
            <a:ext cx="9526956" cy="30748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31614" y="6228460"/>
            <a:ext cx="9449744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31613" y="6579407"/>
            <a:ext cx="7586118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2513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605668" y="1035020"/>
            <a:ext cx="4713466" cy="633321"/>
            <a:chOff x="915" y="639"/>
            <a:chExt cx="2686" cy="391"/>
          </a:xfrm>
        </p:grpSpPr>
        <p:cxnSp>
          <p:nvCxnSpPr>
            <p:cNvPr id="1251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131613" y="6454684"/>
            <a:ext cx="963224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140386" y="902198"/>
            <a:ext cx="962522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pic>
        <p:nvPicPr>
          <p:cNvPr id="12516" name="navigation8" descr="ujkm,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9594" y="37257"/>
            <a:ext cx="980948" cy="801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>
            <p:custDataLst>
              <p:tags r:id="rId19"/>
            </p:custDataLst>
          </p:nvPr>
        </p:nvCxnSpPr>
        <p:spPr>
          <a:xfrm>
            <a:off x="8951374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29" name="Slide Number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9446236" y="6629616"/>
            <a:ext cx="231637" cy="155496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fld id="{4AB8EE8F-8FB5-4462-A918-B78ABC876090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445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8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Char char="•"/>
        <a:defRPr sz="1632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  <a:cs typeface="Arial"/>
        </a:defRPr>
      </a:lvl4pPr>
      <a:lvl5pPr marL="764511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7481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5788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9972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16338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  <p:sldLayoutId id="2147483818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4655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30.png"/><Relationship Id="rId4" Type="http://schemas.openxmlformats.org/officeDocument/2006/relationships/image" Target="../media/image29.jpeg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33.jpeg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42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2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57.jp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69759" y="5157412"/>
            <a:ext cx="9560298" cy="1422134"/>
          </a:xfrm>
          <a:prstGeom prst="rect">
            <a:avLst/>
          </a:prstGeom>
          <a:noFill/>
        </p:spPr>
        <p:txBody>
          <a:bodyPr wrap="square" lIns="97740" tIns="48870" rIns="97740" bIns="48870" rtlCol="0">
            <a:spAutoFit/>
          </a:bodyPr>
          <a:lstStyle/>
          <a:p>
            <a:pPr algn="just"/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Реализация проекта «Оптимизация процесса проведения фронтального опроса и/или тестирования с помощью использования приложения </a:t>
            </a:r>
            <a:r>
              <a:rPr lang="en-US" sz="2000" b="1" dirty="0" err="1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Plickers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» в рамках проекта Орловской области «Эффективный регион»</a:t>
            </a:r>
          </a:p>
          <a:p>
            <a:pPr algn="ctr"/>
            <a:endParaRPr lang="en-US" sz="2600" b="1" dirty="0" smtClean="0">
              <a:solidFill>
                <a:schemeClr val="tx2">
                  <a:lumMod val="90000"/>
                  <a:lumOff val="10000"/>
                </a:schemeClr>
              </a:solidFill>
              <a:latin typeface="Times New Roman" pitchFamily="18" charset="0"/>
              <a:ea typeface="Arial Unicode MS" panose="020B0604020202020204" pitchFamily="34" charset="-128"/>
              <a:cs typeface="Times New Roman" pitchFamily="18" charset="0"/>
            </a:endParaRPr>
          </a:p>
        </p:txBody>
      </p:sp>
      <p:pic>
        <p:nvPicPr>
          <p:cNvPr id="6" name="Picture 2" descr="Coat of arms of Oryol Oblast (large).sv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08106" y="1082421"/>
            <a:ext cx="889612" cy="1159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/>
        </p:nvSpPr>
        <p:spPr>
          <a:xfrm>
            <a:off x="560512" y="2242271"/>
            <a:ext cx="1940874" cy="606526"/>
          </a:xfrm>
          <a:prstGeom prst="rect">
            <a:avLst/>
          </a:prstGeom>
        </p:spPr>
        <p:txBody>
          <a:bodyPr wrap="square" lIns="97740" tIns="48870" rIns="97740" bIns="48870">
            <a:spAutoFit/>
          </a:bodyPr>
          <a:lstStyle/>
          <a:p>
            <a:pPr algn="ctr">
              <a:defRPr/>
            </a:pPr>
            <a:r>
              <a:rPr lang="ru-RU" sz="1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  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Правительство 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Орловской области</a:t>
            </a:r>
          </a:p>
        </p:txBody>
      </p:sp>
      <p:pic>
        <p:nvPicPr>
          <p:cNvPr id="8" name="Picture 6" descr="C:\Documents and Settings\svk\Рабочий стол\e7a755d4276c2ccd3466efcf3bb76ca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20769" y="1229289"/>
            <a:ext cx="964786" cy="953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Прямоугольник 8"/>
          <p:cNvSpPr/>
          <p:nvPr/>
        </p:nvSpPr>
        <p:spPr>
          <a:xfrm>
            <a:off x="2656206" y="2211185"/>
            <a:ext cx="3693912" cy="745025"/>
          </a:xfrm>
          <a:prstGeom prst="rect">
            <a:avLst/>
          </a:prstGeom>
        </p:spPr>
        <p:txBody>
          <a:bodyPr lIns="97740" tIns="48870" rIns="97740" bIns="48870">
            <a:spAutoFit/>
          </a:bodyPr>
          <a:lstStyle/>
          <a:p>
            <a:pPr algn="ctr">
              <a:defRPr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Партнер Правительства</a:t>
            </a:r>
          </a:p>
          <a:p>
            <a:pPr algn="ctr">
              <a:defRPr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Орловской области Госкорпорация «Росатом»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36155" y="6188464"/>
            <a:ext cx="5680941" cy="391082"/>
          </a:xfrm>
          <a:prstGeom prst="rect">
            <a:avLst/>
          </a:prstGeom>
          <a:noFill/>
        </p:spPr>
        <p:txBody>
          <a:bodyPr wrap="none" lIns="97740" tIns="48870" rIns="97740" bIns="48870" rtlCol="0">
            <a:spAutoFit/>
          </a:bodyPr>
          <a:lstStyle/>
          <a:p>
            <a:r>
              <a:rPr lang="ru-RU" sz="19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ериод реализации проекта</a:t>
            </a:r>
            <a:r>
              <a:rPr lang="en-US" sz="19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ru-RU" sz="19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3</a:t>
            </a:r>
            <a:r>
              <a:rPr lang="en-US" sz="19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01.2020-</a:t>
            </a:r>
            <a:r>
              <a:rPr lang="ru-RU" sz="1900" b="1" dirty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sz="19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r>
              <a:rPr lang="en-US" sz="19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0</a:t>
            </a:r>
            <a:r>
              <a:rPr lang="ru-RU" sz="19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r>
              <a:rPr lang="en-US" sz="19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2020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8606" y="1192395"/>
            <a:ext cx="899254" cy="899254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5673080" y="2119556"/>
            <a:ext cx="3693912" cy="529582"/>
          </a:xfrm>
          <a:prstGeom prst="rect">
            <a:avLst/>
          </a:prstGeom>
        </p:spPr>
        <p:txBody>
          <a:bodyPr lIns="97740" tIns="48870" rIns="97740" bIns="48870">
            <a:spAutoFit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Орловская школа </a:t>
            </a:r>
          </a:p>
          <a:p>
            <a:pPr algn="ctr">
              <a:defRPr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для обучающихся с ОВЗ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04620" y="3409017"/>
            <a:ext cx="9560298" cy="991247"/>
          </a:xfrm>
          <a:prstGeom prst="rect">
            <a:avLst/>
          </a:prstGeom>
          <a:noFill/>
        </p:spPr>
        <p:txBody>
          <a:bodyPr wrap="square" lIns="97740" tIns="48870" rIns="97740" bIns="48870" rtlCol="0">
            <a:spAutoFit/>
          </a:bodyPr>
          <a:lstStyle/>
          <a:p>
            <a:pPr algn="ctr"/>
            <a:r>
              <a:rPr lang="ru-RU" sz="3200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Партнёрская проверка качества образца</a:t>
            </a:r>
          </a:p>
          <a:p>
            <a:pPr algn="ctr"/>
            <a:endParaRPr lang="en-US" sz="2600" b="1" dirty="0" smtClean="0">
              <a:solidFill>
                <a:schemeClr val="tx2">
                  <a:lumMod val="90000"/>
                  <a:lumOff val="10000"/>
                </a:schemeClr>
              </a:solidFill>
              <a:latin typeface="Times New Roman" pitchFamily="18" charset="0"/>
              <a:ea typeface="Arial Unicode MS" panose="020B0604020202020204" pitchFamily="34" charset="-128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5560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1397" y="301297"/>
            <a:ext cx="7385392" cy="369332"/>
          </a:xfrm>
        </p:spPr>
        <p:txBody>
          <a:bodyPr/>
          <a:lstStyle/>
          <a:p>
            <a:pPr algn="ctr"/>
            <a:r>
              <a:rPr lang="ru-RU" altLang="ru-RU" sz="2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Построена карта ПСЦ </a:t>
            </a:r>
            <a: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текущего состояния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8464" y="162798"/>
            <a:ext cx="82586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b="1" dirty="0" smtClean="0">
                <a:solidFill>
                  <a:schemeClr val="accent1"/>
                </a:solidFill>
              </a:rPr>
              <a:t>М8</a:t>
            </a:r>
            <a:endParaRPr lang="ru-RU" sz="32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47628"/>
            <a:ext cx="8121352" cy="5622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1916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61746" y="344459"/>
            <a:ext cx="7385392" cy="307777"/>
          </a:xfrm>
        </p:spPr>
        <p:txBody>
          <a:bodyPr/>
          <a:lstStyle/>
          <a:p>
            <a:r>
              <a:rPr lang="ru-RU" altLang="ru-RU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Построена карта ПСЦ </a:t>
            </a:r>
            <a:r>
              <a:rPr lang="ru-RU" altLang="ru-RU" sz="20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целевого </a:t>
            </a:r>
            <a:r>
              <a:rPr lang="ru-RU" altLang="ru-RU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состояния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28464" y="162798"/>
            <a:ext cx="82586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b="1" dirty="0" smtClean="0">
                <a:solidFill>
                  <a:schemeClr val="accent1"/>
                </a:solidFill>
              </a:rPr>
              <a:t>М9</a:t>
            </a:r>
            <a:endParaRPr lang="ru-RU" sz="32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65038"/>
            <a:ext cx="8481392" cy="5871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9923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20552" y="116631"/>
            <a:ext cx="7385392" cy="738664"/>
          </a:xfrm>
        </p:spPr>
        <p:txBody>
          <a:bodyPr/>
          <a:lstStyle/>
          <a:p>
            <a:pPr algn="ctr"/>
            <a: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Выявленные проблемы идентифицированы на картах текущего и целевого состояний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28464" y="162798"/>
            <a:ext cx="108234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b="1" dirty="0" smtClean="0">
                <a:solidFill>
                  <a:schemeClr val="accent1"/>
                </a:solidFill>
              </a:rPr>
              <a:t>М10</a:t>
            </a:r>
            <a:endParaRPr lang="ru-RU" sz="3200" b="1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579" b="23849"/>
          <a:stretch/>
        </p:blipFill>
        <p:spPr>
          <a:xfrm>
            <a:off x="0" y="959254"/>
            <a:ext cx="3888432" cy="313353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60" t="267" r="38205" b="18794"/>
          <a:stretch/>
        </p:blipFill>
        <p:spPr>
          <a:xfrm>
            <a:off x="2576736" y="2924944"/>
            <a:ext cx="3600400" cy="3600400"/>
          </a:xfrm>
          <a:prstGeom prst="rect">
            <a:avLst/>
          </a:prstGeom>
        </p:spPr>
      </p:pic>
      <p:cxnSp>
        <p:nvCxnSpPr>
          <p:cNvPr id="8" name="Прямая со стрелкой 7"/>
          <p:cNvCxnSpPr/>
          <p:nvPr/>
        </p:nvCxnSpPr>
        <p:spPr>
          <a:xfrm>
            <a:off x="2144688" y="2996952"/>
            <a:ext cx="2016224" cy="180020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>
            <a:off x="2144688" y="2996952"/>
            <a:ext cx="2016224" cy="2376264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/>
          <p:cNvCxnSpPr/>
          <p:nvPr/>
        </p:nvCxnSpPr>
        <p:spPr>
          <a:xfrm>
            <a:off x="2288704" y="3897052"/>
            <a:ext cx="2031776" cy="2161428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308" t="17237" r="4433" b="25130"/>
          <a:stretch/>
        </p:blipFill>
        <p:spPr>
          <a:xfrm>
            <a:off x="5277036" y="959254"/>
            <a:ext cx="2376264" cy="3240360"/>
          </a:xfrm>
          <a:prstGeom prst="rect">
            <a:avLst/>
          </a:prstGeom>
        </p:spPr>
      </p:pic>
      <p:cxnSp>
        <p:nvCxnSpPr>
          <p:cNvPr id="20" name="Прямая со стрелкой 19"/>
          <p:cNvCxnSpPr/>
          <p:nvPr/>
        </p:nvCxnSpPr>
        <p:spPr>
          <a:xfrm flipV="1">
            <a:off x="1944216" y="1646802"/>
            <a:ext cx="3332820" cy="414046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>
            <a:off x="1944216" y="2060848"/>
            <a:ext cx="3349597" cy="25084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/>
          <p:nvPr/>
        </p:nvCxnSpPr>
        <p:spPr>
          <a:xfrm flipV="1">
            <a:off x="2288704" y="2852355"/>
            <a:ext cx="3005109" cy="864677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кругленный прямоугольник 28"/>
          <p:cNvSpPr/>
          <p:nvPr/>
        </p:nvSpPr>
        <p:spPr>
          <a:xfrm>
            <a:off x="6609184" y="2832427"/>
            <a:ext cx="2762957" cy="3778137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b="100000"/>
            </a:path>
            <a:tileRect t="-100000" r="-10000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sz="1428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428" b="1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лагаемые решения</a:t>
            </a:r>
            <a:r>
              <a:rPr lang="ru-RU" sz="1428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ctr"/>
            <a:r>
              <a:rPr lang="ru-RU" sz="1428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ТЬ ПРИЛОЖЕНИЕ </a:t>
            </a:r>
            <a:r>
              <a:rPr lang="en-US" sz="1428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LICKERS</a:t>
            </a:r>
            <a:endParaRPr lang="ru-RU" sz="1428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91551" indent="-291551" algn="just">
              <a:buFontTx/>
              <a:buChar char="-"/>
            </a:pPr>
            <a:r>
              <a:rPr lang="ru-RU" sz="1428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начительно снижается расход бумаги, краски;</a:t>
            </a:r>
          </a:p>
          <a:p>
            <a:pPr algn="just"/>
            <a:r>
              <a:rPr lang="ru-RU" sz="1428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    Наличие принтера необязательно;</a:t>
            </a:r>
          </a:p>
          <a:p>
            <a:pPr marL="291551" indent="-291551" algn="just">
              <a:buFontTx/>
              <a:buChar char="-"/>
            </a:pPr>
            <a:r>
              <a:rPr lang="ru-RU" sz="1428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верка </a:t>
            </a:r>
            <a:r>
              <a:rPr lang="ru-RU" sz="1428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  фиксирование,  анализ полученных результатов тестирования осуществляется в режиме он-</a:t>
            </a:r>
            <a:r>
              <a:rPr lang="ru-RU" sz="1428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лайн</a:t>
            </a:r>
            <a:r>
              <a:rPr lang="ru-RU" sz="1428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Затраты времени учителя значительно сокращаются. </a:t>
            </a:r>
          </a:p>
          <a:p>
            <a:pPr marL="291551" indent="-291551" algn="ctr">
              <a:buFontTx/>
              <a:buChar char="-"/>
            </a:pPr>
            <a:endParaRPr lang="ru-RU" sz="1951" dirty="0"/>
          </a:p>
        </p:txBody>
      </p:sp>
    </p:spTree>
    <p:extLst>
      <p:ext uri="{BB962C8B-B14F-4D97-AF65-F5344CB8AC3E}">
        <p14:creationId xmlns:p14="http://schemas.microsoft.com/office/powerpoint/2010/main" val="19693270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08584" y="1412776"/>
            <a:ext cx="7385392" cy="369332"/>
          </a:xfrm>
        </p:spPr>
        <p:txBody>
          <a:bodyPr/>
          <a:lstStyle/>
          <a:p>
            <a:pPr algn="ctr"/>
            <a: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Вовлечение, обучение, мотивация персонала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072680" y="2447776"/>
            <a:ext cx="2517366" cy="141601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85"/>
          <a:stretch/>
        </p:blipFill>
        <p:spPr>
          <a:xfrm>
            <a:off x="1925480" y="4142537"/>
            <a:ext cx="4349962" cy="247369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239"/>
          <a:stretch/>
        </p:blipFill>
        <p:spPr>
          <a:xfrm>
            <a:off x="5241032" y="2348880"/>
            <a:ext cx="2592065" cy="2060502"/>
          </a:xfrm>
          <a:prstGeom prst="rect">
            <a:avLst/>
          </a:prstGeom>
        </p:spPr>
      </p:pic>
      <p:pic>
        <p:nvPicPr>
          <p:cNvPr id="51204" name="Picture 4" descr="https://eduscrum.com.ru/wp-content/uploads/2019/11/pl_head_her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5545" y="4198293"/>
            <a:ext cx="245745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12338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60512" y="178768"/>
            <a:ext cx="7385392" cy="937949"/>
          </a:xfrm>
        </p:spPr>
        <p:txBody>
          <a:bodyPr/>
          <a:lstStyle/>
          <a:p>
            <a:pPr algn="ctr"/>
            <a:r>
              <a:rPr lang="ru-RU" altLang="ru-RU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Обучение базовым методам </a:t>
            </a:r>
            <a:r>
              <a:rPr lang="ru-RU" altLang="ru-RU" sz="20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/>
            </a:r>
            <a:br>
              <a:rPr lang="ru-RU" altLang="ru-RU" sz="20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ru-RU" altLang="ru-RU" sz="20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«</a:t>
            </a:r>
            <a:r>
              <a:rPr lang="ru-RU" altLang="ru-RU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бережливого производства»</a:t>
            </a:r>
            <a:br>
              <a:rPr lang="ru-RU" altLang="ru-RU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061"/>
          <a:stretch/>
        </p:blipFill>
        <p:spPr>
          <a:xfrm>
            <a:off x="442718" y="4509120"/>
            <a:ext cx="3843582" cy="2160239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28464" y="262255"/>
            <a:ext cx="6848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chemeClr val="accent1"/>
                </a:solidFill>
              </a:rPr>
              <a:t>М1</a:t>
            </a:r>
            <a:endParaRPr lang="ru-RU" sz="28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4448944" y="5589240"/>
            <a:ext cx="3028265" cy="6808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седание рабочей группы </a:t>
            </a:r>
          </a:p>
          <a:p>
            <a:pPr algn="ctr"/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внедрению улучшений</a:t>
            </a:r>
            <a:endParaRPr lang="ru-RU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10" descr="C:\Users\Лукьянов\Desktop\Бережливое производство\подготовка к проверке по образцу\обучение с СИЗ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8" t="54755" r="72574" b="6768"/>
          <a:stretch/>
        </p:blipFill>
        <p:spPr bwMode="auto">
          <a:xfrm>
            <a:off x="6969224" y="2780928"/>
            <a:ext cx="2639371" cy="2213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337108" y="3203190"/>
            <a:ext cx="3149195" cy="9750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чее совещание </a:t>
            </a:r>
          </a:p>
          <a:p>
            <a:pPr algn="ctr"/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рамках работы площадки </a:t>
            </a:r>
          </a:p>
          <a:p>
            <a:pPr algn="ctr"/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Бережливое производство»</a:t>
            </a:r>
            <a:endParaRPr lang="ru-RU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865" y="1300829"/>
            <a:ext cx="3584848" cy="238989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200105" y="1501591"/>
            <a:ext cx="3744808" cy="6808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ставление передового опыта </a:t>
            </a:r>
          </a:p>
          <a:p>
            <a:pPr algn="ctr"/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педагогическом совете</a:t>
            </a:r>
            <a:endParaRPr lang="ru-RU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44258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61746" y="313682"/>
            <a:ext cx="7385392" cy="369332"/>
          </a:xfrm>
        </p:spPr>
        <p:txBody>
          <a:bodyPr/>
          <a:lstStyle/>
          <a:p>
            <a: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ППУ – предложения по улучшениям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8464" y="262255"/>
            <a:ext cx="6848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chemeClr val="accent1"/>
                </a:solidFill>
              </a:rPr>
              <a:t>М2</a:t>
            </a:r>
            <a:endParaRPr lang="ru-RU" sz="2800" b="1" dirty="0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008784" y="2283378"/>
            <a:ext cx="3384376" cy="1080120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800" b="1" dirty="0" smtClean="0">
                <a:solidFill>
                  <a:srgbClr val="0848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ложения по практическому применению приложения </a:t>
            </a:r>
            <a:r>
              <a:rPr lang="en-US" sz="1800" b="1" dirty="0" smtClean="0">
                <a:solidFill>
                  <a:srgbClr val="0848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LICKERS</a:t>
            </a:r>
            <a:endParaRPr lang="ru-RU" sz="1800" b="1" dirty="0" smtClean="0">
              <a:solidFill>
                <a:srgbClr val="08486B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813266" y="3428999"/>
            <a:ext cx="2642025" cy="1187675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8486B"/>
                </a:solidFill>
              </a:rPr>
              <a:t>Проведение фронтального опроса на уроках</a:t>
            </a:r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484193" y="4910152"/>
            <a:ext cx="2602963" cy="1296144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8486B"/>
                </a:solidFill>
              </a:rPr>
              <a:t>Проведения контрольного тестирования</a:t>
            </a:r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053414" y="3428999"/>
            <a:ext cx="2850886" cy="1298871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8486B"/>
                </a:solidFill>
              </a:rPr>
              <a:t>Голосование коллектива на профсоюзных собраниях</a:t>
            </a:r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9" name="Тройная стрелка влево/вправо/вверх 8"/>
          <p:cNvSpPr/>
          <p:nvPr/>
        </p:nvSpPr>
        <p:spPr>
          <a:xfrm rot="10800000">
            <a:off x="3788175" y="3548506"/>
            <a:ext cx="1995002" cy="1296144"/>
          </a:xfrm>
          <a:prstGeom prst="leftRightUpArrow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6249976"/>
              </p:ext>
            </p:extLst>
          </p:nvPr>
        </p:nvGraphicFramePr>
        <p:xfrm>
          <a:off x="128464" y="1138028"/>
          <a:ext cx="6603999" cy="7635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1333">
                  <a:extLst>
                    <a:ext uri="{9D8B030D-6E8A-4147-A177-3AD203B41FA5}">
                      <a16:colId xmlns:a16="http://schemas.microsoft.com/office/drawing/2014/main" val="4259835101"/>
                    </a:ext>
                  </a:extLst>
                </a:gridCol>
                <a:gridCol w="2201333">
                  <a:extLst>
                    <a:ext uri="{9D8B030D-6E8A-4147-A177-3AD203B41FA5}">
                      <a16:colId xmlns:a16="http://schemas.microsoft.com/office/drawing/2014/main" val="1233427269"/>
                    </a:ext>
                  </a:extLst>
                </a:gridCol>
                <a:gridCol w="2201333">
                  <a:extLst>
                    <a:ext uri="{9D8B030D-6E8A-4147-A177-3AD203B41FA5}">
                      <a16:colId xmlns:a16="http://schemas.microsoft.com/office/drawing/2014/main" val="288037928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Поступило ППУ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Рассмотрено</a:t>
                      </a:r>
                      <a:r>
                        <a:rPr lang="ru-RU" sz="1800" baseline="0" dirty="0" smtClean="0"/>
                        <a:t> ППУ</a:t>
                      </a:r>
                      <a:endParaRPr lang="ru-RU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Реализовано</a:t>
                      </a:r>
                      <a:r>
                        <a:rPr lang="ru-RU" sz="1800" baseline="0" dirty="0" smtClean="0"/>
                        <a:t> ППУ</a:t>
                      </a:r>
                      <a:endParaRPr lang="ru-RU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47387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5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5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3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62545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60148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885543" y="332656"/>
            <a:ext cx="469564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altLang="ru-RU" sz="20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бучение у специалистов РОСАТОМА</a:t>
            </a:r>
            <a:endParaRPr lang="ru-RU" b="1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60512" y="271101"/>
            <a:ext cx="6848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chemeClr val="accent1"/>
                </a:solidFill>
              </a:rPr>
              <a:t>М3</a:t>
            </a:r>
            <a:endParaRPr lang="ru-RU" sz="2800" b="1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010"/>
          <a:stretch/>
        </p:blipFill>
        <p:spPr>
          <a:xfrm>
            <a:off x="1424608" y="1340768"/>
            <a:ext cx="7200800" cy="4752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3000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08584" y="116632"/>
            <a:ext cx="7385392" cy="1061060"/>
          </a:xfrm>
        </p:spPr>
        <p:txBody>
          <a:bodyPr/>
          <a:lstStyle/>
          <a:p>
            <a:r>
              <a:rPr lang="ru-RU" altLang="ru-RU" sz="2400" b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При проведении обучения «на площадке» соблюдаются требования безопасности</a:t>
            </a:r>
            <a:br>
              <a:rPr lang="ru-RU" altLang="ru-RU" sz="2400" b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endParaRPr lang="ru-RU" b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72480" y="157766"/>
            <a:ext cx="6848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chemeClr val="accent1"/>
                </a:solidFill>
              </a:rPr>
              <a:t>М4</a:t>
            </a:r>
            <a:endParaRPr lang="ru-RU" sz="2800" b="1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416496" y="1556792"/>
            <a:ext cx="8784976" cy="1008112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уются средства индивидуальной защиты</a:t>
            </a:r>
            <a:endParaRPr lang="ru-RU" sz="20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90630" y="2836097"/>
            <a:ext cx="8784976" cy="1008112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седания </a:t>
            </a:r>
            <a:r>
              <a:rPr lang="ru-RU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одится на он-</a:t>
            </a:r>
            <a:r>
              <a:rPr lang="ru-RU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айн</a:t>
            </a:r>
            <a:r>
              <a:rPr lang="ru-RU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латформе </a:t>
            </a:r>
            <a:r>
              <a:rPr lang="en-US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ZOOM </a:t>
            </a:r>
            <a:endParaRPr lang="ru-RU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ли </a:t>
            </a:r>
            <a:r>
              <a:rPr lang="ru-RU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атформе дистанционного </a:t>
            </a:r>
          </a:p>
          <a:p>
            <a:pPr algn="ctr"/>
            <a:r>
              <a:rPr lang="ru-RU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учения Института развития образования</a:t>
            </a:r>
            <a:endParaRPr lang="ru-RU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426056" y="4077072"/>
            <a:ext cx="8784976" cy="1008112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е заседаний не мешает </a:t>
            </a:r>
            <a:endParaRPr lang="ru-RU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тельному </a:t>
            </a:r>
            <a:r>
              <a:rPr lang="ru-RU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у</a:t>
            </a:r>
          </a:p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pic>
        <p:nvPicPr>
          <p:cNvPr id="54274" name="Picture 2" descr="https://cdn.pixabay.com/photo/2012/04/16/12/28/mark-35780_128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480" y="1388955"/>
            <a:ext cx="1604139" cy="1201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https://cdn.pixabay.com/photo/2012/04/16/12/28/mark-35780_128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026" y="2624361"/>
            <a:ext cx="1588347" cy="1190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https://cdn.pixabay.com/photo/2012/04/16/12/28/mark-35780_128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026" y="3839876"/>
            <a:ext cx="1628160" cy="1219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2173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28464" y="262255"/>
            <a:ext cx="6848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chemeClr val="accent1"/>
                </a:solidFill>
              </a:rPr>
              <a:t>М5</a:t>
            </a:r>
            <a:endParaRPr lang="ru-RU" sz="2800" b="1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704528" y="154533"/>
            <a:ext cx="7385392" cy="738664"/>
          </a:xfrm>
        </p:spPr>
        <p:txBody>
          <a:bodyPr/>
          <a:lstStyle/>
          <a:p>
            <a:pPr algn="ctr"/>
            <a: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Визуализация по бережливому производству в помещениях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077121" y="1052736"/>
            <a:ext cx="4840252" cy="521938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83831" y="1272499"/>
            <a:ext cx="43364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я о проекте </a:t>
            </a:r>
          </a:p>
          <a:p>
            <a:pPr algn="ctr"/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ставлена на стенде, который </a:t>
            </a:r>
          </a:p>
          <a:p>
            <a:pPr algn="ctr"/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положен на входе в школу. </a:t>
            </a:r>
            <a:endParaRPr lang="ru-RU" sz="16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6616" y="2132857"/>
            <a:ext cx="3024335" cy="4032448"/>
          </a:xfrm>
          <a:prstGeom prst="rect">
            <a:avLst/>
          </a:prstGeom>
        </p:spPr>
      </p:pic>
      <p:pic>
        <p:nvPicPr>
          <p:cNvPr id="53250" name="Picture 2" descr="https://3.bp.blogspot.com/-Qh5Y7PJooVM/W-kwMNUa0VI/AAAAAAAAB40/VJ-oHT5DOgcGw1nbU1vznyWsrLyYgQLmgCLcBGAs/s640/Cp_8sHfXgAA5GFt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6187" y="2118675"/>
            <a:ext cx="2402371" cy="3203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5845828" y="5349818"/>
            <a:ext cx="21430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формление кабинета</a:t>
            </a:r>
            <a:endParaRPr lang="ru-RU" sz="16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71492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71119" y="57024"/>
            <a:ext cx="684803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chemeClr val="accent1"/>
                </a:solidFill>
              </a:rPr>
              <a:t>М6</a:t>
            </a:r>
          </a:p>
          <a:p>
            <a:r>
              <a:rPr lang="ru-RU" sz="2800" b="1" dirty="0" smtClean="0">
                <a:solidFill>
                  <a:schemeClr val="accent1"/>
                </a:solidFill>
              </a:rPr>
              <a:t>М7</a:t>
            </a:r>
            <a:endParaRPr lang="ru-RU" sz="2800" b="1" dirty="0"/>
          </a:p>
        </p:txBody>
      </p:sp>
      <p:sp>
        <p:nvSpPr>
          <p:cNvPr id="5" name="Freeform 4"/>
          <p:cNvSpPr>
            <a:spLocks noEditPoints="1"/>
          </p:cNvSpPr>
          <p:nvPr/>
        </p:nvSpPr>
        <p:spPr bwMode="gray">
          <a:xfrm>
            <a:off x="1" y="1700809"/>
            <a:ext cx="7341474" cy="4866580"/>
          </a:xfrm>
          <a:custGeom>
            <a:avLst/>
            <a:gdLst>
              <a:gd name="T0" fmla="*/ 1092 w 2820"/>
              <a:gd name="T1" fmla="*/ 50 h 2912"/>
              <a:gd name="T2" fmla="*/ 822 w 2820"/>
              <a:gd name="T3" fmla="*/ 168 h 2912"/>
              <a:gd name="T4" fmla="*/ 594 w 2820"/>
              <a:gd name="T5" fmla="*/ 300 h 2912"/>
              <a:gd name="T6" fmla="*/ 406 w 2820"/>
              <a:gd name="T7" fmla="*/ 446 h 2912"/>
              <a:gd name="T8" fmla="*/ 254 w 2820"/>
              <a:gd name="T9" fmla="*/ 604 h 2912"/>
              <a:gd name="T10" fmla="*/ 140 w 2820"/>
              <a:gd name="T11" fmla="*/ 772 h 2912"/>
              <a:gd name="T12" fmla="*/ 60 w 2820"/>
              <a:gd name="T13" fmla="*/ 944 h 2912"/>
              <a:gd name="T14" fmla="*/ 14 w 2820"/>
              <a:gd name="T15" fmla="*/ 1122 h 2912"/>
              <a:gd name="T16" fmla="*/ 0 w 2820"/>
              <a:gd name="T17" fmla="*/ 1300 h 2912"/>
              <a:gd name="T18" fmla="*/ 18 w 2820"/>
              <a:gd name="T19" fmla="*/ 1476 h 2912"/>
              <a:gd name="T20" fmla="*/ 64 w 2820"/>
              <a:gd name="T21" fmla="*/ 1650 h 2912"/>
              <a:gd name="T22" fmla="*/ 138 w 2820"/>
              <a:gd name="T23" fmla="*/ 1818 h 2912"/>
              <a:gd name="T24" fmla="*/ 238 w 2820"/>
              <a:gd name="T25" fmla="*/ 1978 h 2912"/>
              <a:gd name="T26" fmla="*/ 364 w 2820"/>
              <a:gd name="T27" fmla="*/ 2126 h 2912"/>
              <a:gd name="T28" fmla="*/ 512 w 2820"/>
              <a:gd name="T29" fmla="*/ 2262 h 2912"/>
              <a:gd name="T30" fmla="*/ 684 w 2820"/>
              <a:gd name="T31" fmla="*/ 2382 h 2912"/>
              <a:gd name="T32" fmla="*/ 874 w 2820"/>
              <a:gd name="T33" fmla="*/ 2484 h 2912"/>
              <a:gd name="T34" fmla="*/ 1086 w 2820"/>
              <a:gd name="T35" fmla="*/ 2564 h 2912"/>
              <a:gd name="T36" fmla="*/ 1314 w 2820"/>
              <a:gd name="T37" fmla="*/ 2622 h 2912"/>
              <a:gd name="T38" fmla="*/ 1558 w 2820"/>
              <a:gd name="T39" fmla="*/ 2654 h 2912"/>
              <a:gd name="T40" fmla="*/ 1818 w 2820"/>
              <a:gd name="T41" fmla="*/ 2658 h 2912"/>
              <a:gd name="T42" fmla="*/ 2090 w 2820"/>
              <a:gd name="T43" fmla="*/ 2632 h 2912"/>
              <a:gd name="T44" fmla="*/ 2374 w 2820"/>
              <a:gd name="T45" fmla="*/ 2574 h 2912"/>
              <a:gd name="T46" fmla="*/ 2544 w 2820"/>
              <a:gd name="T47" fmla="*/ 2912 h 2912"/>
              <a:gd name="T48" fmla="*/ 1868 w 2820"/>
              <a:gd name="T49" fmla="*/ 1552 h 2912"/>
              <a:gd name="T50" fmla="*/ 1956 w 2820"/>
              <a:gd name="T51" fmla="*/ 1914 h 2912"/>
              <a:gd name="T52" fmla="*/ 1788 w 2820"/>
              <a:gd name="T53" fmla="*/ 1936 h 2912"/>
              <a:gd name="T54" fmla="*/ 1616 w 2820"/>
              <a:gd name="T55" fmla="*/ 1934 h 2912"/>
              <a:gd name="T56" fmla="*/ 1442 w 2820"/>
              <a:gd name="T57" fmla="*/ 1912 h 2912"/>
              <a:gd name="T58" fmla="*/ 1272 w 2820"/>
              <a:gd name="T59" fmla="*/ 1872 h 2912"/>
              <a:gd name="T60" fmla="*/ 1108 w 2820"/>
              <a:gd name="T61" fmla="*/ 1812 h 2912"/>
              <a:gd name="T62" fmla="*/ 952 w 2820"/>
              <a:gd name="T63" fmla="*/ 1736 h 2912"/>
              <a:gd name="T64" fmla="*/ 810 w 2820"/>
              <a:gd name="T65" fmla="*/ 1646 h 2912"/>
              <a:gd name="T66" fmla="*/ 684 w 2820"/>
              <a:gd name="T67" fmla="*/ 1542 h 2912"/>
              <a:gd name="T68" fmla="*/ 578 w 2820"/>
              <a:gd name="T69" fmla="*/ 1428 h 2912"/>
              <a:gd name="T70" fmla="*/ 494 w 2820"/>
              <a:gd name="T71" fmla="*/ 1304 h 2912"/>
              <a:gd name="T72" fmla="*/ 438 w 2820"/>
              <a:gd name="T73" fmla="*/ 1170 h 2912"/>
              <a:gd name="T74" fmla="*/ 410 w 2820"/>
              <a:gd name="T75" fmla="*/ 1032 h 2912"/>
              <a:gd name="T76" fmla="*/ 416 w 2820"/>
              <a:gd name="T77" fmla="*/ 888 h 2912"/>
              <a:gd name="T78" fmla="*/ 460 w 2820"/>
              <a:gd name="T79" fmla="*/ 742 h 2912"/>
              <a:gd name="T80" fmla="*/ 544 w 2820"/>
              <a:gd name="T81" fmla="*/ 592 h 2912"/>
              <a:gd name="T82" fmla="*/ 670 w 2820"/>
              <a:gd name="T83" fmla="*/ 444 h 2912"/>
              <a:gd name="T84" fmla="*/ 844 w 2820"/>
              <a:gd name="T85" fmla="*/ 298 h 2912"/>
              <a:gd name="T86" fmla="*/ 1070 w 2820"/>
              <a:gd name="T87" fmla="*/ 154 h 2912"/>
              <a:gd name="T88" fmla="*/ 1348 w 2820"/>
              <a:gd name="T89" fmla="*/ 16 h 2912"/>
              <a:gd name="T90" fmla="*/ 1244 w 2820"/>
              <a:gd name="T91" fmla="*/ 0 h 2912"/>
              <a:gd name="T92" fmla="*/ 2820 w 2820"/>
              <a:gd name="T93" fmla="*/ 1934 h 2912"/>
              <a:gd name="T94" fmla="*/ 2820 w 2820"/>
              <a:gd name="T95" fmla="*/ 1934 h 2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820" h="2912">
                <a:moveTo>
                  <a:pt x="1244" y="0"/>
                </a:moveTo>
                <a:lnTo>
                  <a:pt x="1092" y="50"/>
                </a:lnTo>
                <a:lnTo>
                  <a:pt x="952" y="106"/>
                </a:lnTo>
                <a:lnTo>
                  <a:pt x="822" y="168"/>
                </a:lnTo>
                <a:lnTo>
                  <a:pt x="704" y="232"/>
                </a:lnTo>
                <a:lnTo>
                  <a:pt x="594" y="300"/>
                </a:lnTo>
                <a:lnTo>
                  <a:pt x="494" y="372"/>
                </a:lnTo>
                <a:lnTo>
                  <a:pt x="406" y="446"/>
                </a:lnTo>
                <a:lnTo>
                  <a:pt x="324" y="524"/>
                </a:lnTo>
                <a:lnTo>
                  <a:pt x="254" y="604"/>
                </a:lnTo>
                <a:lnTo>
                  <a:pt x="192" y="686"/>
                </a:lnTo>
                <a:lnTo>
                  <a:pt x="140" y="772"/>
                </a:lnTo>
                <a:lnTo>
                  <a:pt x="96" y="856"/>
                </a:lnTo>
                <a:lnTo>
                  <a:pt x="60" y="944"/>
                </a:lnTo>
                <a:lnTo>
                  <a:pt x="32" y="1032"/>
                </a:lnTo>
                <a:lnTo>
                  <a:pt x="14" y="1122"/>
                </a:lnTo>
                <a:lnTo>
                  <a:pt x="2" y="1210"/>
                </a:lnTo>
                <a:lnTo>
                  <a:pt x="0" y="1300"/>
                </a:lnTo>
                <a:lnTo>
                  <a:pt x="4" y="1388"/>
                </a:lnTo>
                <a:lnTo>
                  <a:pt x="18" y="1476"/>
                </a:lnTo>
                <a:lnTo>
                  <a:pt x="36" y="1564"/>
                </a:lnTo>
                <a:lnTo>
                  <a:pt x="64" y="1650"/>
                </a:lnTo>
                <a:lnTo>
                  <a:pt x="96" y="1736"/>
                </a:lnTo>
                <a:lnTo>
                  <a:pt x="138" y="1818"/>
                </a:lnTo>
                <a:lnTo>
                  <a:pt x="184" y="1900"/>
                </a:lnTo>
                <a:lnTo>
                  <a:pt x="238" y="1978"/>
                </a:lnTo>
                <a:lnTo>
                  <a:pt x="298" y="2054"/>
                </a:lnTo>
                <a:lnTo>
                  <a:pt x="364" y="2126"/>
                </a:lnTo>
                <a:lnTo>
                  <a:pt x="434" y="2196"/>
                </a:lnTo>
                <a:lnTo>
                  <a:pt x="512" y="2262"/>
                </a:lnTo>
                <a:lnTo>
                  <a:pt x="596" y="2324"/>
                </a:lnTo>
                <a:lnTo>
                  <a:pt x="684" y="2382"/>
                </a:lnTo>
                <a:lnTo>
                  <a:pt x="776" y="2436"/>
                </a:lnTo>
                <a:lnTo>
                  <a:pt x="874" y="2484"/>
                </a:lnTo>
                <a:lnTo>
                  <a:pt x="978" y="2526"/>
                </a:lnTo>
                <a:lnTo>
                  <a:pt x="1086" y="2564"/>
                </a:lnTo>
                <a:lnTo>
                  <a:pt x="1198" y="2596"/>
                </a:lnTo>
                <a:lnTo>
                  <a:pt x="1314" y="2622"/>
                </a:lnTo>
                <a:lnTo>
                  <a:pt x="1434" y="2642"/>
                </a:lnTo>
                <a:lnTo>
                  <a:pt x="1558" y="2654"/>
                </a:lnTo>
                <a:lnTo>
                  <a:pt x="1686" y="2660"/>
                </a:lnTo>
                <a:lnTo>
                  <a:pt x="1818" y="2658"/>
                </a:lnTo>
                <a:lnTo>
                  <a:pt x="1952" y="2650"/>
                </a:lnTo>
                <a:lnTo>
                  <a:pt x="2090" y="2632"/>
                </a:lnTo>
                <a:lnTo>
                  <a:pt x="2230" y="2608"/>
                </a:lnTo>
                <a:lnTo>
                  <a:pt x="2374" y="2574"/>
                </a:lnTo>
                <a:lnTo>
                  <a:pt x="2542" y="2912"/>
                </a:lnTo>
                <a:lnTo>
                  <a:pt x="2544" y="2912"/>
                </a:lnTo>
                <a:lnTo>
                  <a:pt x="2820" y="1934"/>
                </a:lnTo>
                <a:lnTo>
                  <a:pt x="1868" y="1552"/>
                </a:lnTo>
                <a:lnTo>
                  <a:pt x="2036" y="1894"/>
                </a:lnTo>
                <a:lnTo>
                  <a:pt x="1956" y="1914"/>
                </a:lnTo>
                <a:lnTo>
                  <a:pt x="1872" y="1928"/>
                </a:lnTo>
                <a:lnTo>
                  <a:pt x="1788" y="1936"/>
                </a:lnTo>
                <a:lnTo>
                  <a:pt x="1702" y="1938"/>
                </a:lnTo>
                <a:lnTo>
                  <a:pt x="1616" y="1934"/>
                </a:lnTo>
                <a:lnTo>
                  <a:pt x="1528" y="1926"/>
                </a:lnTo>
                <a:lnTo>
                  <a:pt x="1442" y="1912"/>
                </a:lnTo>
                <a:lnTo>
                  <a:pt x="1356" y="1894"/>
                </a:lnTo>
                <a:lnTo>
                  <a:pt x="1272" y="1872"/>
                </a:lnTo>
                <a:lnTo>
                  <a:pt x="1188" y="1844"/>
                </a:lnTo>
                <a:lnTo>
                  <a:pt x="1108" y="1812"/>
                </a:lnTo>
                <a:lnTo>
                  <a:pt x="1028" y="1776"/>
                </a:lnTo>
                <a:lnTo>
                  <a:pt x="952" y="1736"/>
                </a:lnTo>
                <a:lnTo>
                  <a:pt x="880" y="1692"/>
                </a:lnTo>
                <a:lnTo>
                  <a:pt x="810" y="1646"/>
                </a:lnTo>
                <a:lnTo>
                  <a:pt x="744" y="1596"/>
                </a:lnTo>
                <a:lnTo>
                  <a:pt x="684" y="1542"/>
                </a:lnTo>
                <a:lnTo>
                  <a:pt x="628" y="1486"/>
                </a:lnTo>
                <a:lnTo>
                  <a:pt x="578" y="1428"/>
                </a:lnTo>
                <a:lnTo>
                  <a:pt x="532" y="1366"/>
                </a:lnTo>
                <a:lnTo>
                  <a:pt x="494" y="1304"/>
                </a:lnTo>
                <a:lnTo>
                  <a:pt x="462" y="1238"/>
                </a:lnTo>
                <a:lnTo>
                  <a:pt x="438" y="1170"/>
                </a:lnTo>
                <a:lnTo>
                  <a:pt x="420" y="1102"/>
                </a:lnTo>
                <a:lnTo>
                  <a:pt x="410" y="1032"/>
                </a:lnTo>
                <a:lnTo>
                  <a:pt x="410" y="960"/>
                </a:lnTo>
                <a:lnTo>
                  <a:pt x="416" y="888"/>
                </a:lnTo>
                <a:lnTo>
                  <a:pt x="434" y="816"/>
                </a:lnTo>
                <a:lnTo>
                  <a:pt x="460" y="742"/>
                </a:lnTo>
                <a:lnTo>
                  <a:pt x="496" y="668"/>
                </a:lnTo>
                <a:lnTo>
                  <a:pt x="544" y="592"/>
                </a:lnTo>
                <a:lnTo>
                  <a:pt x="602" y="518"/>
                </a:lnTo>
                <a:lnTo>
                  <a:pt x="670" y="444"/>
                </a:lnTo>
                <a:lnTo>
                  <a:pt x="752" y="370"/>
                </a:lnTo>
                <a:lnTo>
                  <a:pt x="844" y="298"/>
                </a:lnTo>
                <a:lnTo>
                  <a:pt x="950" y="226"/>
                </a:lnTo>
                <a:lnTo>
                  <a:pt x="1070" y="154"/>
                </a:lnTo>
                <a:lnTo>
                  <a:pt x="1202" y="84"/>
                </a:lnTo>
                <a:lnTo>
                  <a:pt x="1348" y="16"/>
                </a:lnTo>
                <a:lnTo>
                  <a:pt x="1244" y="0"/>
                </a:lnTo>
                <a:lnTo>
                  <a:pt x="1244" y="0"/>
                </a:lnTo>
                <a:lnTo>
                  <a:pt x="1244" y="0"/>
                </a:lnTo>
                <a:close/>
                <a:moveTo>
                  <a:pt x="2820" y="1934"/>
                </a:moveTo>
                <a:lnTo>
                  <a:pt x="2820" y="1934"/>
                </a:lnTo>
                <a:lnTo>
                  <a:pt x="2820" y="1934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dist="206741" dir="8249373" algn="ctr" rotWithShape="0">
              <a:srgbClr val="C1D1D3">
                <a:alpha val="50000"/>
              </a:srgbClr>
            </a:outerShdw>
          </a:effectLst>
        </p:spPr>
        <p:txBody>
          <a:bodyPr/>
          <a:lstStyle/>
          <a:p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258871" y="2708246"/>
            <a:ext cx="37755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чики проекта:</a:t>
            </a:r>
          </a:p>
          <a:p>
            <a:pPr marL="285750" indent="-285750">
              <a:buFontTx/>
              <a:buChar char="-"/>
            </a:pPr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школы;</a:t>
            </a:r>
          </a:p>
          <a:p>
            <a:pPr marL="285750" indent="-285750">
              <a:buFontTx/>
              <a:buChar char="-"/>
            </a:pPr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ководители методических объединений.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4" descr="rpunber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715" y="3902955"/>
            <a:ext cx="1095339" cy="146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d0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9156" y="3902955"/>
            <a:ext cx="1098084" cy="146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20" r="5761"/>
          <a:stretch/>
        </p:blipFill>
        <p:spPr>
          <a:xfrm>
            <a:off x="2667747" y="3902955"/>
            <a:ext cx="1205134" cy="1460452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94009" y="5333800"/>
            <a:ext cx="12651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юнберг И.В., </a:t>
            </a:r>
          </a:p>
          <a:p>
            <a:pPr algn="ctr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меститель </a:t>
            </a:r>
          </a:p>
          <a:p>
            <a:pPr algn="ctr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а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398169" y="5333800"/>
            <a:ext cx="12636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сенкова М.Г, </a:t>
            </a:r>
          </a:p>
          <a:p>
            <a:pPr algn="ctr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меститель </a:t>
            </a:r>
          </a:p>
          <a:p>
            <a:pPr algn="ctr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а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619109" y="5360667"/>
            <a:ext cx="14153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льникова Е.М., </a:t>
            </a:r>
          </a:p>
          <a:p>
            <a:pPr algn="ctr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ист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953000" y="1699631"/>
            <a:ext cx="4248472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чая группа </a:t>
            </a:r>
            <a:r>
              <a:rPr lang="ru-RU" sz="2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а – </a:t>
            </a:r>
          </a:p>
          <a:p>
            <a:pPr algn="ctr"/>
            <a:r>
              <a:rPr lang="ru-RU" sz="2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исполнители проекта</a:t>
            </a:r>
          </a:p>
          <a:p>
            <a:pPr algn="ctr"/>
            <a:endParaRPr lang="ru-RU" sz="20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аснова М.О., учитель истории;</a:t>
            </a:r>
          </a:p>
          <a:p>
            <a:pPr marL="285750" indent="-285750">
              <a:buFontTx/>
              <a:buChar char="-"/>
            </a:pPr>
            <a:r>
              <a:rPr 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сянникова О.Н., учитель географии,</a:t>
            </a:r>
          </a:p>
          <a:p>
            <a:pPr marL="285750" indent="-285750">
              <a:buFontTx/>
              <a:buChar char="-"/>
            </a:pPr>
            <a:r>
              <a:rPr 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лисеева Г.В., учитель начальных классов;</a:t>
            </a:r>
          </a:p>
          <a:p>
            <a:pPr marL="285750" indent="-285750">
              <a:buFontTx/>
              <a:buChar char="-"/>
            </a:pPr>
            <a:r>
              <a:rPr 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сянникова Л.Г., учитель русского языка;</a:t>
            </a:r>
          </a:p>
          <a:p>
            <a:pPr marL="285750" indent="-285750">
              <a:buFontTx/>
              <a:buChar char="-"/>
            </a:pPr>
            <a:r>
              <a:rPr 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нуковская К.А., учитель русского языка;</a:t>
            </a:r>
          </a:p>
          <a:p>
            <a:pPr marL="285750" indent="-285750">
              <a:buFontTx/>
              <a:buChar char="-"/>
            </a:pPr>
            <a:r>
              <a:rPr 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онова О.Н., учитель информатики;</a:t>
            </a:r>
          </a:p>
          <a:p>
            <a:pPr marL="285750" indent="-285750">
              <a:buFontTx/>
              <a:buChar char="-"/>
            </a:pPr>
            <a:r>
              <a:rPr 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алкина В.И., дефектолог.</a:t>
            </a:r>
          </a:p>
          <a:p>
            <a:pPr marL="285750" indent="-285750">
              <a:buFontTx/>
              <a:buChar char="-"/>
            </a:pPr>
            <a:r>
              <a:rPr 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недова С.Н., учитель технологии.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920552" y="180135"/>
            <a:ext cx="686898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000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лены рабочих групп по проектам и их роли в командах.</a:t>
            </a:r>
            <a:br>
              <a:rPr lang="ru-RU" altLang="ru-RU" sz="2000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2000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я о проектных командах на </a:t>
            </a:r>
            <a:r>
              <a:rPr lang="ru-RU" altLang="ru-RU" sz="2000" b="1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нфостендах</a:t>
            </a:r>
            <a:endParaRPr lang="ru-RU" b="1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195500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Стрелка влево 22"/>
          <p:cNvSpPr/>
          <p:nvPr/>
        </p:nvSpPr>
        <p:spPr>
          <a:xfrm rot="8247711">
            <a:off x="4187023" y="2502164"/>
            <a:ext cx="2159041" cy="861070"/>
          </a:xfrm>
          <a:prstGeom prst="leftArrow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Управление проектами улучшений</a:t>
            </a:r>
            <a:endParaRPr lang="ru-RU" dirty="0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827803" y="1085256"/>
            <a:ext cx="1707216" cy="816987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8486B"/>
                </a:solidFill>
              </a:rPr>
              <a:t>Заказчик проекта</a:t>
            </a:r>
          </a:p>
        </p:txBody>
      </p:sp>
      <p:sp>
        <p:nvSpPr>
          <p:cNvPr id="4" name="Стрелка углом 3"/>
          <p:cNvSpPr/>
          <p:nvPr/>
        </p:nvSpPr>
        <p:spPr>
          <a:xfrm rot="16200000" flipH="1">
            <a:off x="195941" y="1573389"/>
            <a:ext cx="1903339" cy="1332147"/>
          </a:xfrm>
          <a:prstGeom prst="bentArrow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0" y="3202230"/>
            <a:ext cx="1882896" cy="1040741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8486B"/>
                </a:solidFill>
              </a:rPr>
              <a:t>Руководитель проекта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325008" y="3189400"/>
            <a:ext cx="1646903" cy="983039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8486B"/>
                </a:solidFill>
              </a:rPr>
              <a:t>ПРОЕКТ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955970" y="1243861"/>
            <a:ext cx="2388475" cy="961003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8486B"/>
                </a:solidFill>
              </a:rPr>
              <a:t>Результат</a:t>
            </a:r>
            <a:endParaRPr lang="ru-RU" dirty="0">
              <a:solidFill>
                <a:srgbClr val="08486B"/>
              </a:solidFill>
            </a:endParaRPr>
          </a:p>
          <a:p>
            <a:pPr algn="ctr"/>
            <a:r>
              <a:rPr lang="ru-RU" dirty="0" smtClean="0">
                <a:solidFill>
                  <a:srgbClr val="08486B"/>
                </a:solidFill>
              </a:rPr>
              <a:t>проекта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7937458" y="3269933"/>
            <a:ext cx="1849160" cy="677184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8486B"/>
                </a:solidFill>
              </a:rPr>
              <a:t>Исполнители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689103" y="5417399"/>
            <a:ext cx="2656385" cy="1284204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8486B"/>
                </a:solidFill>
              </a:rPr>
              <a:t>Координация направления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5054442" y="4221090"/>
            <a:ext cx="1512167" cy="792088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8486B"/>
                </a:solidFill>
              </a:rPr>
              <a:t>План проекта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731701" y="5432593"/>
            <a:ext cx="2399062" cy="1269010"/>
          </a:xfrm>
          <a:prstGeom prst="round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8486B"/>
                </a:solidFill>
              </a:rPr>
              <a:t>Администратор проекта</a:t>
            </a:r>
          </a:p>
        </p:txBody>
      </p:sp>
      <p:sp>
        <p:nvSpPr>
          <p:cNvPr id="13" name="Стрелка влево 12"/>
          <p:cNvSpPr/>
          <p:nvPr/>
        </p:nvSpPr>
        <p:spPr>
          <a:xfrm>
            <a:off x="3535019" y="1338057"/>
            <a:ext cx="2420951" cy="622605"/>
          </a:xfrm>
          <a:prstGeom prst="leftArrow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14" name="Стрелка влево 13"/>
          <p:cNvSpPr/>
          <p:nvPr/>
        </p:nvSpPr>
        <p:spPr>
          <a:xfrm>
            <a:off x="4148460" y="5530372"/>
            <a:ext cx="2520280" cy="684914"/>
          </a:xfrm>
          <a:prstGeom prst="leftArrow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16" name="Стрелка углом 15"/>
          <p:cNvSpPr/>
          <p:nvPr/>
        </p:nvSpPr>
        <p:spPr>
          <a:xfrm rot="5400000" flipH="1" flipV="1">
            <a:off x="206995" y="4507459"/>
            <a:ext cx="1806891" cy="1277918"/>
          </a:xfrm>
          <a:prstGeom prst="bentArrow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17" name="Стрелка углом 16"/>
          <p:cNvSpPr/>
          <p:nvPr/>
        </p:nvSpPr>
        <p:spPr>
          <a:xfrm flipH="1">
            <a:off x="8344445" y="1488712"/>
            <a:ext cx="1269666" cy="1767930"/>
          </a:xfrm>
          <a:prstGeom prst="bentArrow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19" name="Стрелка влево 18"/>
          <p:cNvSpPr/>
          <p:nvPr/>
        </p:nvSpPr>
        <p:spPr>
          <a:xfrm rot="16200000">
            <a:off x="2585377" y="2186876"/>
            <a:ext cx="1277777" cy="708508"/>
          </a:xfrm>
          <a:prstGeom prst="leftArrow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24" name="Стрелка влево 23"/>
          <p:cNvSpPr/>
          <p:nvPr/>
        </p:nvSpPr>
        <p:spPr>
          <a:xfrm rot="5400000">
            <a:off x="2812058" y="4550942"/>
            <a:ext cx="1211503" cy="551799"/>
          </a:xfrm>
          <a:prstGeom prst="leftArrow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26" name="Стрелка углом 25"/>
          <p:cNvSpPr/>
          <p:nvPr/>
        </p:nvSpPr>
        <p:spPr>
          <a:xfrm>
            <a:off x="3740570" y="4267375"/>
            <a:ext cx="1267012" cy="1165218"/>
          </a:xfrm>
          <a:prstGeom prst="bentArrow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27" name="Стрелка углом 26"/>
          <p:cNvSpPr/>
          <p:nvPr/>
        </p:nvSpPr>
        <p:spPr>
          <a:xfrm rot="16200000" flipH="1">
            <a:off x="6317077" y="2631297"/>
            <a:ext cx="920243" cy="2320518"/>
          </a:xfrm>
          <a:prstGeom prst="bentArrow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28" name="Стрелка влево 27"/>
          <p:cNvSpPr/>
          <p:nvPr/>
        </p:nvSpPr>
        <p:spPr>
          <a:xfrm rot="5400000">
            <a:off x="8228141" y="4300055"/>
            <a:ext cx="1460903" cy="773789"/>
          </a:xfrm>
          <a:prstGeom prst="leftArrow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29" name="Стрелка влево 28"/>
          <p:cNvSpPr/>
          <p:nvPr/>
        </p:nvSpPr>
        <p:spPr>
          <a:xfrm rot="16200000">
            <a:off x="7474165" y="4366725"/>
            <a:ext cx="1456990" cy="644355"/>
          </a:xfrm>
          <a:prstGeom prst="leftArrow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094718" y="1430885"/>
            <a:ext cx="1435581" cy="386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2"/>
                </a:solidFill>
              </a:rPr>
              <a:t>получает</a:t>
            </a:r>
            <a:endParaRPr lang="ru-RU" dirty="0">
              <a:solidFill>
                <a:schemeClr val="accent2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 rot="16200000">
            <a:off x="2466554" y="2271988"/>
            <a:ext cx="14355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accent2"/>
                </a:solidFill>
              </a:rPr>
              <a:t>инициирует</a:t>
            </a:r>
            <a:endParaRPr lang="ru-RU" sz="1600" dirty="0">
              <a:solidFill>
                <a:schemeClr val="accent2"/>
              </a:solidFill>
            </a:endParaRPr>
          </a:p>
        </p:txBody>
      </p:sp>
      <p:sp>
        <p:nvSpPr>
          <p:cNvPr id="21" name="Стрелка влево 20"/>
          <p:cNvSpPr/>
          <p:nvPr/>
        </p:nvSpPr>
        <p:spPr>
          <a:xfrm rot="10800000">
            <a:off x="1758946" y="3131673"/>
            <a:ext cx="1566061" cy="596352"/>
          </a:xfrm>
          <a:prstGeom prst="leftArrow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702174" y="3289878"/>
            <a:ext cx="1904817" cy="2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accent2"/>
                </a:solidFill>
              </a:rPr>
              <a:t>о</a:t>
            </a:r>
            <a:r>
              <a:rPr lang="ru-RU" sz="1000" dirty="0" smtClean="0">
                <a:solidFill>
                  <a:schemeClr val="accent2"/>
                </a:solidFill>
              </a:rPr>
              <a:t>пределяет цели </a:t>
            </a:r>
            <a:endParaRPr lang="ru-RU" sz="1000" dirty="0">
              <a:solidFill>
                <a:schemeClr val="accent2"/>
              </a:solidFill>
            </a:endParaRPr>
          </a:p>
        </p:txBody>
      </p:sp>
      <p:sp>
        <p:nvSpPr>
          <p:cNvPr id="30" name="Стрелка влево 29"/>
          <p:cNvSpPr/>
          <p:nvPr/>
        </p:nvSpPr>
        <p:spPr>
          <a:xfrm rot="10800000">
            <a:off x="1793925" y="3716912"/>
            <a:ext cx="1531081" cy="702957"/>
          </a:xfrm>
          <a:prstGeom prst="leftArrow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855671" y="3681205"/>
            <a:ext cx="143558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chemeClr val="accent2"/>
                </a:solidFill>
              </a:rPr>
              <a:t>п</a:t>
            </a:r>
            <a:r>
              <a:rPr lang="ru-RU" sz="1050" dirty="0" smtClean="0">
                <a:solidFill>
                  <a:schemeClr val="accent2"/>
                </a:solidFill>
              </a:rPr>
              <a:t>ланирует, контролирует,</a:t>
            </a:r>
          </a:p>
          <a:p>
            <a:r>
              <a:rPr lang="ru-RU" sz="1050" dirty="0">
                <a:solidFill>
                  <a:schemeClr val="accent2"/>
                </a:solidFill>
              </a:rPr>
              <a:t>о</a:t>
            </a:r>
            <a:r>
              <a:rPr lang="ru-RU" sz="1050" dirty="0" smtClean="0">
                <a:solidFill>
                  <a:schemeClr val="accent2"/>
                </a:solidFill>
              </a:rPr>
              <a:t>беспечивает реализацию</a:t>
            </a:r>
          </a:p>
        </p:txBody>
      </p:sp>
      <p:sp>
        <p:nvSpPr>
          <p:cNvPr id="35" name="TextBox 34"/>
          <p:cNvSpPr txBox="1"/>
          <p:nvPr/>
        </p:nvSpPr>
        <p:spPr>
          <a:xfrm rot="16200000">
            <a:off x="-92335" y="4953127"/>
            <a:ext cx="1778038" cy="386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2"/>
                </a:solidFill>
              </a:rPr>
              <a:t>отчитывается</a:t>
            </a:r>
            <a:endParaRPr lang="ru-RU" dirty="0">
              <a:solidFill>
                <a:schemeClr val="accent2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 rot="16200000">
            <a:off x="2701965" y="4650730"/>
            <a:ext cx="14355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2"/>
                </a:solidFill>
              </a:rPr>
              <a:t>контролирует</a:t>
            </a:r>
            <a:endParaRPr lang="ru-RU" sz="1400" dirty="0">
              <a:solidFill>
                <a:schemeClr val="accent2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872490" y="5670917"/>
            <a:ext cx="1765920" cy="386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2"/>
                </a:solidFill>
              </a:rPr>
              <a:t>отчитывается</a:t>
            </a:r>
            <a:endParaRPr lang="ru-RU" dirty="0">
              <a:solidFill>
                <a:schemeClr val="accent2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768165" y="4434799"/>
            <a:ext cx="20886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accent2"/>
                </a:solidFill>
              </a:rPr>
              <a:t>разрабатывает</a:t>
            </a:r>
            <a:endParaRPr lang="ru-RU" sz="1200" dirty="0">
              <a:solidFill>
                <a:schemeClr val="accent2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 rot="19073965">
            <a:off x="4842736" y="2349661"/>
            <a:ext cx="15447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accent2"/>
                </a:solidFill>
              </a:rPr>
              <a:t>и</a:t>
            </a:r>
            <a:r>
              <a:rPr lang="ru-RU" sz="1200" dirty="0" smtClean="0">
                <a:solidFill>
                  <a:schemeClr val="accent2"/>
                </a:solidFill>
              </a:rPr>
              <a:t>меет результатом</a:t>
            </a:r>
            <a:endParaRPr lang="ru-RU" sz="1200" dirty="0">
              <a:solidFill>
                <a:schemeClr val="accent2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 rot="16200000">
            <a:off x="74390" y="2046171"/>
            <a:ext cx="1435581" cy="386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2"/>
                </a:solidFill>
              </a:rPr>
              <a:t>назначает</a:t>
            </a:r>
            <a:endParaRPr lang="ru-RU" dirty="0">
              <a:solidFill>
                <a:schemeClr val="accent2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101207" y="3286764"/>
            <a:ext cx="19481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2"/>
                </a:solidFill>
              </a:rPr>
              <a:t>в</a:t>
            </a:r>
            <a:r>
              <a:rPr lang="ru-RU" sz="1200" dirty="0" smtClean="0">
                <a:solidFill>
                  <a:schemeClr val="accent2"/>
                </a:solidFill>
              </a:rPr>
              <a:t>ыполняют работы согласно</a:t>
            </a:r>
            <a:endParaRPr lang="ru-RU" sz="1200" dirty="0">
              <a:solidFill>
                <a:schemeClr val="accent2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 rot="16200000">
            <a:off x="7245611" y="4301350"/>
            <a:ext cx="18515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accent2"/>
                </a:solidFill>
              </a:rPr>
              <a:t>отчитывается</a:t>
            </a:r>
            <a:endParaRPr lang="ru-RU" sz="1600" dirty="0">
              <a:solidFill>
                <a:schemeClr val="accent2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 rot="16200000">
            <a:off x="8048844" y="4375671"/>
            <a:ext cx="1765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 smtClean="0">
                <a:solidFill>
                  <a:schemeClr val="accent2"/>
                </a:solidFill>
              </a:rPr>
              <a:t>руководит</a:t>
            </a:r>
            <a:endParaRPr lang="ru-RU" sz="1800" dirty="0">
              <a:solidFill>
                <a:schemeClr val="accent2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 rot="16200000">
            <a:off x="8537861" y="2168283"/>
            <a:ext cx="1765920" cy="386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2"/>
                </a:solidFill>
              </a:rPr>
              <a:t>создают</a:t>
            </a:r>
            <a:endParaRPr lang="ru-RU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430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6496" y="116632"/>
            <a:ext cx="7385392" cy="738664"/>
          </a:xfrm>
        </p:spPr>
        <p:txBody>
          <a:bodyPr/>
          <a:lstStyle/>
          <a:p>
            <a:pPr algn="ctr"/>
            <a: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азмещение актуальной информации по бережливому проектированию на сайте </a:t>
            </a:r>
            <a:r>
              <a:rPr lang="ru-RU" altLang="ru-RU" sz="2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школы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8464" y="262255"/>
            <a:ext cx="6848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chemeClr val="accent1"/>
                </a:solidFill>
              </a:rPr>
              <a:t>М8</a:t>
            </a:r>
            <a:endParaRPr lang="ru-RU" sz="28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l="13960" t="9249" r="11720" b="6193"/>
          <a:stretch/>
        </p:blipFill>
        <p:spPr>
          <a:xfrm>
            <a:off x="834331" y="1196752"/>
            <a:ext cx="8116616" cy="5194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9222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/>
        </p:nvSpPr>
        <p:spPr>
          <a:xfrm>
            <a:off x="4481396" y="3719941"/>
            <a:ext cx="4968552" cy="2304256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76536" y="332656"/>
            <a:ext cx="7385392" cy="307777"/>
          </a:xfrm>
        </p:spPr>
        <p:txBody>
          <a:bodyPr/>
          <a:lstStyle/>
          <a:p>
            <a:pPr algn="ctr"/>
            <a:r>
              <a:rPr lang="ru-RU" altLang="ru-RU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актика поощрения за реализацию проектов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34134" y="224934"/>
            <a:ext cx="6848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chemeClr val="accent1"/>
                </a:solidFill>
              </a:rPr>
              <a:t>М9</a:t>
            </a:r>
            <a:endParaRPr lang="ru-RU" sz="2800" b="1" dirty="0"/>
          </a:p>
        </p:txBody>
      </p:sp>
      <p:sp>
        <p:nvSpPr>
          <p:cNvPr id="5" name="TextBox 7"/>
          <p:cNvSpPr txBox="1">
            <a:spLocks noChangeArrowheads="1"/>
          </p:cNvSpPr>
          <p:nvPr/>
        </p:nvSpPr>
        <p:spPr bwMode="auto">
          <a:xfrm>
            <a:off x="4643954" y="4259905"/>
            <a:ext cx="4643437" cy="1269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dirty="0"/>
              <a:t>2. Объявление Благодарности работникам, предлагающим и внедряющим улучшения, на </a:t>
            </a:r>
            <a:r>
              <a:rPr lang="ru-RU" altLang="ru-RU" dirty="0" smtClean="0"/>
              <a:t>Совете школы. </a:t>
            </a:r>
            <a:endParaRPr lang="ru-RU" altLang="ru-RU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920552" y="1604123"/>
            <a:ext cx="4968552" cy="2304256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4" name="TextBox 8"/>
          <p:cNvSpPr txBox="1">
            <a:spLocks noChangeArrowheads="1"/>
          </p:cNvSpPr>
          <p:nvPr/>
        </p:nvSpPr>
        <p:spPr bwMode="auto">
          <a:xfrm>
            <a:off x="1352190" y="1923616"/>
            <a:ext cx="4105275" cy="126932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 Денежное поощрение (премирование) работников, предлагающих и внедряющих улучшения.</a:t>
            </a:r>
          </a:p>
        </p:txBody>
      </p:sp>
      <p:pic>
        <p:nvPicPr>
          <p:cNvPr id="8" name="Picture 2" descr="https://cdn.pixabay.com/photo/2012/04/16/12/28/mark-35780_128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134" y="1991087"/>
            <a:ext cx="1604139" cy="1201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https://cdn.pixabay.com/photo/2012/04/16/12/28/mark-35780_128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4827" y="4327376"/>
            <a:ext cx="1604139" cy="1201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200347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08584" y="1718571"/>
            <a:ext cx="7385392" cy="430887"/>
          </a:xfrm>
        </p:spPr>
        <p:txBody>
          <a:bodyPr/>
          <a:lstStyle/>
          <a:p>
            <a:pPr algn="ctr"/>
            <a:r>
              <a:rPr lang="ru-RU" sz="28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Готовность к тиражированию</a:t>
            </a:r>
            <a:endParaRPr lang="ru-RU" sz="28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3" name="Picture 2" descr="https://i.ytimg.com/vi/gQH5pvKQiX8/maxresdefaul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6046" y="2636912"/>
            <a:ext cx="5850467" cy="3290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11290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20552" y="301878"/>
            <a:ext cx="7385392" cy="369332"/>
          </a:xfrm>
        </p:spPr>
        <p:txBody>
          <a:bodyPr/>
          <a:lstStyle/>
          <a:p>
            <a:pPr algn="ctr"/>
            <a: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Информационное сопровождение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34134" y="224934"/>
            <a:ext cx="6848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chemeClr val="accent1"/>
                </a:solidFill>
              </a:rPr>
              <a:t>М1</a:t>
            </a:r>
            <a:endParaRPr lang="ru-RU" sz="28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l="13960" t="9249" r="11720" b="6193"/>
          <a:stretch/>
        </p:blipFill>
        <p:spPr>
          <a:xfrm>
            <a:off x="272480" y="1196752"/>
            <a:ext cx="4889433" cy="312923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925344" y="4325989"/>
            <a:ext cx="15837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йт школы </a:t>
            </a:r>
            <a:endParaRPr lang="ru-RU" sz="20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8054" y="3284984"/>
            <a:ext cx="2393467" cy="2210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4571113" y="5661248"/>
            <a:ext cx="5327351" cy="680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https://obl1.ru/reportage/v-orlovskikh-shkolakh-vnedryayutsya-sovremennye-tekhnologii</a:t>
            </a:r>
          </a:p>
        </p:txBody>
      </p:sp>
    </p:spTree>
    <p:extLst>
      <p:ext uri="{BB962C8B-B14F-4D97-AF65-F5344CB8AC3E}">
        <p14:creationId xmlns:p14="http://schemas.microsoft.com/office/powerpoint/2010/main" val="3059615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76536" y="178768"/>
            <a:ext cx="7385392" cy="615553"/>
          </a:xfrm>
        </p:spPr>
        <p:txBody>
          <a:bodyPr/>
          <a:lstStyle/>
          <a:p>
            <a:pPr algn="ctr"/>
            <a:r>
              <a:rPr lang="ru-RU" altLang="ru-RU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Процессы типизированы, стандартизированы </a:t>
            </a:r>
            <a:r>
              <a:rPr lang="ru-RU" altLang="ru-RU" sz="20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/>
            </a:r>
            <a:br>
              <a:rPr lang="ru-RU" altLang="ru-RU" sz="20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ru-RU" altLang="ru-RU" sz="20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и </a:t>
            </a:r>
            <a:r>
              <a:rPr lang="ru-RU" altLang="ru-RU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пригодны к тиражу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34134" y="224934"/>
            <a:ext cx="6848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chemeClr val="accent1"/>
                </a:solidFill>
              </a:rPr>
              <a:t>М3</a:t>
            </a:r>
            <a:endParaRPr lang="ru-RU" sz="28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l="40633" t="13955" r="20451" b="4877"/>
          <a:stretch/>
        </p:blipFill>
        <p:spPr>
          <a:xfrm>
            <a:off x="757495" y="1556792"/>
            <a:ext cx="3888312" cy="456186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/>
          <a:srcRect l="40409" t="15310" r="19844" b="4866"/>
          <a:stretch/>
        </p:blipFill>
        <p:spPr>
          <a:xfrm>
            <a:off x="4808984" y="1556792"/>
            <a:ext cx="4038234" cy="456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4097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504" y="116632"/>
            <a:ext cx="7385392" cy="738664"/>
          </a:xfrm>
        </p:spPr>
        <p:txBody>
          <a:bodyPr/>
          <a:lstStyle/>
          <a:p>
            <a:pPr algn="ctr"/>
            <a: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Мотивированный и подготовленный </a:t>
            </a:r>
            <a:r>
              <a:rPr lang="ru-RU" altLang="ru-RU" sz="2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/>
            </a:r>
            <a:br>
              <a:rPr lang="ru-RU" altLang="ru-RU" sz="2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ru-RU" altLang="ru-RU" sz="2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для </a:t>
            </a:r>
            <a: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передачи опыта сотрудник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20" r="5761"/>
          <a:stretch/>
        </p:blipFill>
        <p:spPr>
          <a:xfrm>
            <a:off x="992560" y="1667911"/>
            <a:ext cx="2564237" cy="310749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98791" y="5013176"/>
            <a:ext cx="335177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льникова Е.М., </a:t>
            </a:r>
          </a:p>
          <a:p>
            <a:pPr algn="ctr"/>
            <a:r>
              <a:rPr lang="ru-RU" sz="2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ист</a:t>
            </a:r>
            <a:endParaRPr lang="ru-RU" sz="20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67" r="53821" b="6481"/>
          <a:stretch/>
        </p:blipFill>
        <p:spPr>
          <a:xfrm>
            <a:off x="5313041" y="1667911"/>
            <a:ext cx="2736304" cy="312924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005306" y="5013176"/>
            <a:ext cx="335177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аснова М</a:t>
            </a:r>
            <a:r>
              <a:rPr lang="ru-RU" sz="2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О., </a:t>
            </a:r>
            <a:endParaRPr lang="ru-RU" sz="20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итель истории</a:t>
            </a:r>
            <a:endParaRPr lang="ru-RU" sz="20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07757" y="224354"/>
            <a:ext cx="6848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chemeClr val="accent1"/>
                </a:solidFill>
              </a:rPr>
              <a:t>М4</a:t>
            </a:r>
            <a:endParaRPr lang="ru-RU" sz="2800" b="1" dirty="0"/>
          </a:p>
        </p:txBody>
      </p:sp>
    </p:spTree>
    <p:extLst>
      <p:ext uri="{BB962C8B-B14F-4D97-AF65-F5344CB8AC3E}">
        <p14:creationId xmlns:p14="http://schemas.microsoft.com/office/powerpoint/2010/main" val="150607804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92560" y="260648"/>
            <a:ext cx="7385392" cy="369332"/>
          </a:xfrm>
        </p:spPr>
        <p:txBody>
          <a:bodyPr/>
          <a:lstStyle/>
          <a:p>
            <a:pPr algn="ctr"/>
            <a: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Пакет методических материалов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07757" y="224354"/>
            <a:ext cx="6848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chemeClr val="accent1"/>
                </a:solidFill>
              </a:rPr>
              <a:t>М5</a:t>
            </a:r>
            <a:endParaRPr lang="ru-RU" sz="28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r="47538" b="49051"/>
          <a:stretch/>
        </p:blipFill>
        <p:spPr>
          <a:xfrm>
            <a:off x="992560" y="1340768"/>
            <a:ext cx="7920880" cy="432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5110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509" y="324766"/>
            <a:ext cx="7385392" cy="322396"/>
          </a:xfrm>
        </p:spPr>
        <p:txBody>
          <a:bodyPr/>
          <a:lstStyle/>
          <a:p>
            <a:pPr algn="ctr"/>
            <a:r>
              <a:rPr lang="ru-RU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Реализованный проект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07757" y="224354"/>
            <a:ext cx="6848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chemeClr val="accent1"/>
                </a:solidFill>
              </a:rPr>
              <a:t>М6</a:t>
            </a:r>
            <a:endParaRPr lang="ru-RU" sz="2800" b="1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0737902"/>
              </p:ext>
            </p:extLst>
          </p:nvPr>
        </p:nvGraphicFramePr>
        <p:xfrm>
          <a:off x="1280592" y="1700808"/>
          <a:ext cx="6661150" cy="47548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618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401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92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99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тапы подготовки и реализации тестирования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ремя, затраченное без использования приложения Plickers, мин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ремя, затраченное </a:t>
                      </a: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использованием приложения Plickers, мин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и конструирование теста, т.е. выбор определенных видов тестовых вопросов и заданий с учетом определенных требований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лучение участниками образовательного процесса материалов тест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стирование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дача 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астниками образовательного процесса материалов теста педагогу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ботка теста, т.е. проверка с помощью ключа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ализ результатов теста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бликация результатов тестирования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5169024" y="1314227"/>
            <a:ext cx="881973" cy="3865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  <a:endParaRPr lang="ru-RU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694202" y="1314226"/>
            <a:ext cx="1004442" cy="3865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  <a:endParaRPr lang="ru-RU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36342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8544" y="224354"/>
            <a:ext cx="7385392" cy="644792"/>
          </a:xfrm>
        </p:spPr>
        <p:txBody>
          <a:bodyPr/>
          <a:lstStyle/>
          <a:p>
            <a:pPr algn="ctr"/>
            <a:r>
              <a:rPr lang="ru-RU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В общем доступе на сайте школы размещены Методические рекомендации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07757" y="224354"/>
            <a:ext cx="6848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chemeClr val="accent1"/>
                </a:solidFill>
              </a:rPr>
              <a:t>М7</a:t>
            </a:r>
            <a:endParaRPr lang="ru-RU" sz="28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l="14568" t="11510" r="12597" b="5043"/>
          <a:stretch/>
        </p:blipFill>
        <p:spPr>
          <a:xfrm>
            <a:off x="848544" y="1052736"/>
            <a:ext cx="8352928" cy="5382998"/>
          </a:xfrm>
          <a:prstGeom prst="rect">
            <a:avLst/>
          </a:prstGeom>
        </p:spPr>
      </p:pic>
      <p:sp>
        <p:nvSpPr>
          <p:cNvPr id="5" name="Скругленный прямоугольник 4"/>
          <p:cNvSpPr/>
          <p:nvPr/>
        </p:nvSpPr>
        <p:spPr>
          <a:xfrm>
            <a:off x="3656856" y="5877272"/>
            <a:ext cx="3168352" cy="144016"/>
          </a:xfrm>
          <a:prstGeom prst="roundRect">
            <a:avLst/>
          </a:prstGeom>
          <a:noFill/>
          <a:ln w="381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05716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4528" y="116632"/>
            <a:ext cx="7385392" cy="738664"/>
          </a:xfrm>
        </p:spPr>
        <p:txBody>
          <a:bodyPr/>
          <a:lstStyle/>
          <a:p>
            <a:pPr algn="ctr"/>
            <a: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Видео- и фотоматериалы, иллюстрирующие лучшие практики образца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07757" y="224354"/>
            <a:ext cx="6848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chemeClr val="accent1"/>
                </a:solidFill>
              </a:rPr>
              <a:t>М7</a:t>
            </a:r>
            <a:endParaRPr lang="ru-RU" sz="28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512" y="1196752"/>
            <a:ext cx="8064896" cy="4536504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560512" y="5842020"/>
            <a:ext cx="6552728" cy="386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https://www.youtube.com/watch?v=gQH5pvKQiX8</a:t>
            </a:r>
          </a:p>
        </p:txBody>
      </p:sp>
    </p:spTree>
    <p:extLst>
      <p:ext uri="{BB962C8B-B14F-4D97-AF65-F5344CB8AC3E}">
        <p14:creationId xmlns:p14="http://schemas.microsoft.com/office/powerpoint/2010/main" val="17064113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64" y="188640"/>
            <a:ext cx="7385392" cy="615553"/>
          </a:xfrm>
        </p:spPr>
        <p:txBody>
          <a:bodyPr/>
          <a:lstStyle/>
          <a:p>
            <a:r>
              <a:rPr lang="ru-RU" sz="4000" dirty="0" smtClean="0">
                <a:solidFill>
                  <a:schemeClr val="accent1"/>
                </a:solidFill>
              </a:rPr>
              <a:t>М1</a:t>
            </a:r>
            <a:endParaRPr lang="ru-RU" sz="4000" dirty="0">
              <a:solidFill>
                <a:schemeClr val="accent1"/>
              </a:solidFill>
            </a:endParaRPr>
          </a:p>
        </p:txBody>
      </p:sp>
      <p:sp>
        <p:nvSpPr>
          <p:cNvPr id="3" name="AutoShape 3"/>
          <p:cNvSpPr>
            <a:spLocks noChangeArrowheads="1"/>
          </p:cNvSpPr>
          <p:nvPr/>
        </p:nvSpPr>
        <p:spPr bwMode="ltGray">
          <a:xfrm>
            <a:off x="381000" y="1600200"/>
            <a:ext cx="5880100" cy="4495800"/>
          </a:xfrm>
          <a:prstGeom prst="rightArrow">
            <a:avLst>
              <a:gd name="adj1" fmla="val 79306"/>
              <a:gd name="adj2" fmla="val 32395"/>
            </a:avLst>
          </a:prstGeom>
          <a:gradFill rotWithShape="1">
            <a:gsLst>
              <a:gs pos="0">
                <a:schemeClr val="accent1">
                  <a:gamma/>
                  <a:tint val="0"/>
                  <a:invGamma/>
                </a:schemeClr>
              </a:gs>
              <a:gs pos="100000">
                <a:schemeClr val="accent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4" name="AutoShape 7"/>
          <p:cNvSpPr>
            <a:spLocks noChangeArrowheads="1"/>
          </p:cNvSpPr>
          <p:nvPr/>
        </p:nvSpPr>
        <p:spPr bwMode="auto">
          <a:xfrm>
            <a:off x="6404376" y="2708920"/>
            <a:ext cx="3229144" cy="2232248"/>
          </a:xfrm>
          <a:prstGeom prst="roundRect">
            <a:avLst>
              <a:gd name="adj" fmla="val 9106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ACDD4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altLang="ru-RU" sz="28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иссия проекта: </a:t>
            </a:r>
            <a:r>
              <a:rPr lang="ru-RU" alt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altLang="ru-RU" sz="20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тимизация процесса проведения фронтального опроса и/или тестирования</a:t>
            </a:r>
            <a:endParaRPr lang="en-US" altLang="ru-RU" sz="2000" dirty="0">
              <a:solidFill>
                <a:srgbClr val="00206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AutoShape 3"/>
          <p:cNvSpPr>
            <a:spLocks noChangeArrowheads="1"/>
          </p:cNvSpPr>
          <p:nvPr/>
        </p:nvSpPr>
        <p:spPr bwMode="ltGray">
          <a:xfrm>
            <a:off x="446584" y="1613520"/>
            <a:ext cx="5880100" cy="4495800"/>
          </a:xfrm>
          <a:prstGeom prst="rightArrow">
            <a:avLst>
              <a:gd name="adj1" fmla="val 79306"/>
              <a:gd name="adj2" fmla="val 32395"/>
            </a:avLst>
          </a:prstGeom>
          <a:gradFill rotWithShape="1">
            <a:gsLst>
              <a:gs pos="0">
                <a:schemeClr val="accent1">
                  <a:gamma/>
                  <a:tint val="0"/>
                  <a:invGamma/>
                </a:schemeClr>
              </a:gs>
              <a:gs pos="100000">
                <a:schemeClr val="accent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blackWhite">
          <a:xfrm>
            <a:off x="827584" y="2223120"/>
            <a:ext cx="4038600" cy="990600"/>
          </a:xfrm>
          <a:prstGeom prst="roundRect">
            <a:avLst>
              <a:gd name="adj" fmla="val 9106"/>
            </a:avLst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tint val="69804"/>
                  <a:invGamma/>
                </a:schemeClr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ru-RU" altLang="ru-RU" sz="16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 современных </a:t>
            </a:r>
          </a:p>
          <a:p>
            <a:pPr algn="ctr" eaLnBrk="0" hangingPunct="0"/>
            <a:r>
              <a:rPr lang="ru-RU" altLang="ru-RU" sz="16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онных технологий</a:t>
            </a:r>
            <a:endParaRPr lang="en-US" altLang="ru-RU" sz="16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blackWhite">
          <a:xfrm>
            <a:off x="827584" y="3366120"/>
            <a:ext cx="4038600" cy="990600"/>
          </a:xfrm>
          <a:prstGeom prst="roundRect">
            <a:avLst>
              <a:gd name="adj" fmla="val 9106"/>
            </a:avLst>
          </a:prstGeom>
          <a:gradFill rotWithShape="1">
            <a:gsLst>
              <a:gs pos="0">
                <a:srgbClr val="699D5F"/>
              </a:gs>
              <a:gs pos="100000">
                <a:srgbClr val="699D5F">
                  <a:gamma/>
                  <a:tint val="69804"/>
                  <a:invGamma/>
                </a:srgbClr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ru-RU" altLang="ru-RU" sz="16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профессиональной </a:t>
            </a:r>
          </a:p>
          <a:p>
            <a:pPr algn="ctr" eaLnBrk="0" hangingPunct="0"/>
            <a:r>
              <a:rPr lang="ru-RU" altLang="ru-RU" sz="16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петентности педагогических </a:t>
            </a:r>
          </a:p>
          <a:p>
            <a:pPr algn="ctr" eaLnBrk="0" hangingPunct="0"/>
            <a:r>
              <a:rPr lang="ru-RU" altLang="ru-RU" sz="16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тников</a:t>
            </a:r>
            <a:endParaRPr lang="en-US" altLang="ru-RU" sz="16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AutoShape 6"/>
          <p:cNvSpPr>
            <a:spLocks noChangeArrowheads="1"/>
          </p:cNvSpPr>
          <p:nvPr/>
        </p:nvSpPr>
        <p:spPr bwMode="blackWhite">
          <a:xfrm>
            <a:off x="827584" y="4509120"/>
            <a:ext cx="4038600" cy="990600"/>
          </a:xfrm>
          <a:prstGeom prst="roundRect">
            <a:avLst>
              <a:gd name="adj" fmla="val 9106"/>
            </a:avLst>
          </a:prstGeom>
          <a:gradFill rotWithShape="1">
            <a:gsLst>
              <a:gs pos="0">
                <a:schemeClr val="hlink"/>
              </a:gs>
              <a:gs pos="100000">
                <a:schemeClr val="hlink">
                  <a:gamma/>
                  <a:tint val="69804"/>
                  <a:invGamma/>
                </a:schemeClr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ru-RU" altLang="ru-RU" sz="16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ключевых </a:t>
            </a:r>
          </a:p>
          <a:p>
            <a:pPr algn="ctr" eaLnBrk="0" hangingPunct="0"/>
            <a:r>
              <a:rPr lang="ru-RU" altLang="ru-RU" sz="16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петенций обучающихся</a:t>
            </a:r>
            <a:endParaRPr lang="en-US" altLang="ru-RU" sz="16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3784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61746" y="344459"/>
            <a:ext cx="7385392" cy="307777"/>
          </a:xfrm>
        </p:spPr>
        <p:txBody>
          <a:bodyPr/>
          <a:lstStyle/>
          <a:p>
            <a:pPr algn="ctr"/>
            <a:r>
              <a:rPr lang="ru-RU" altLang="ru-RU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Передача опыта (тиражирование)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07757" y="224354"/>
            <a:ext cx="6848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chemeClr val="accent1"/>
                </a:solidFill>
              </a:rPr>
              <a:t>М8</a:t>
            </a:r>
            <a:endParaRPr lang="ru-RU" sz="2800" b="1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l="27877" t="18479" r="53460" b="16137"/>
          <a:stretch/>
        </p:blipFill>
        <p:spPr>
          <a:xfrm>
            <a:off x="2936776" y="1114419"/>
            <a:ext cx="2448272" cy="482453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/>
          <a:srcRect l="63155" t="19168" r="18696" b="15015"/>
          <a:stretch/>
        </p:blipFill>
        <p:spPr>
          <a:xfrm>
            <a:off x="776536" y="1124744"/>
            <a:ext cx="1800200" cy="367240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033120" y="2420888"/>
            <a:ext cx="3452163" cy="6808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ыступление на региональной 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актической конференции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745088" y="2276872"/>
            <a:ext cx="3888432" cy="1080120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814986" y="1797237"/>
            <a:ext cx="3748636" cy="2039389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11" name="Стрелка углом вверх 10"/>
          <p:cNvSpPr/>
          <p:nvPr/>
        </p:nvSpPr>
        <p:spPr>
          <a:xfrm rot="16200000" flipH="1">
            <a:off x="5758752" y="3411921"/>
            <a:ext cx="1048571" cy="1939995"/>
          </a:xfrm>
          <a:prstGeom prst="bent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2972780" y="4240838"/>
            <a:ext cx="2412268" cy="772338"/>
          </a:xfrm>
          <a:prstGeom prst="round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53995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6496" y="238116"/>
            <a:ext cx="7385392" cy="1107996"/>
          </a:xfrm>
        </p:spPr>
        <p:txBody>
          <a:bodyPr/>
          <a:lstStyle/>
          <a:p>
            <a:pPr algn="ctr"/>
            <a: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Передача опыта </a:t>
            </a:r>
            <a:b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ru-RU" altLang="ru-RU" sz="2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(обучение специалистов разных сфер деятельности)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07757" y="224354"/>
            <a:ext cx="6848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chemeClr val="accent1"/>
                </a:solidFill>
              </a:rPr>
              <a:t>М9</a:t>
            </a:r>
            <a:endParaRPr lang="ru-RU" sz="28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1136576" y="1700808"/>
            <a:ext cx="8315097" cy="6808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Инструктивно-методическое совещание </a:t>
            </a:r>
          </a:p>
          <a:p>
            <a:r>
              <a:rPr lang="ru-RU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для председателей территориальных  и первичных Профорганизаций.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136576" y="2564904"/>
            <a:ext cx="6187912" cy="6808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002060"/>
                </a:solidFill>
              </a:rPr>
              <a:t>Мастер-класс «Использование приложения </a:t>
            </a:r>
            <a:r>
              <a:rPr lang="en-US" dirty="0" err="1" smtClean="0">
                <a:solidFill>
                  <a:srgbClr val="002060"/>
                </a:solidFill>
              </a:rPr>
              <a:t>Plickers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endParaRPr lang="ru-RU" dirty="0" smtClean="0">
              <a:solidFill>
                <a:srgbClr val="002060"/>
              </a:solidFill>
            </a:endParaRPr>
          </a:p>
          <a:p>
            <a:r>
              <a:rPr lang="ru-RU" dirty="0" smtClean="0">
                <a:solidFill>
                  <a:srgbClr val="002060"/>
                </a:solidFill>
              </a:rPr>
              <a:t>при проведении профсоюзных заседаний»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endParaRPr lang="ru-RU" dirty="0">
              <a:solidFill>
                <a:srgbClr val="002060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584" y="3245731"/>
            <a:ext cx="4572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2998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504" y="188640"/>
            <a:ext cx="7385392" cy="1107996"/>
          </a:xfrm>
        </p:spPr>
        <p:txBody>
          <a:bodyPr/>
          <a:lstStyle/>
          <a:p>
            <a:pPr algn="ctr"/>
            <a: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Результаты проектов докладывались на </a:t>
            </a:r>
            <a:b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en-US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 </a:t>
            </a:r>
            <a: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Региональном форуме «Эффективный регион»</a:t>
            </a:r>
            <a:b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(18 марта 2021 г.)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46102" y="165407"/>
            <a:ext cx="88517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chemeClr val="accent1"/>
                </a:solidFill>
              </a:rPr>
              <a:t>М10</a:t>
            </a:r>
            <a:endParaRPr lang="ru-RU" sz="28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l="36602" t="18479" r="8038" b="12499"/>
          <a:stretch/>
        </p:blipFill>
        <p:spPr>
          <a:xfrm>
            <a:off x="563042" y="1768653"/>
            <a:ext cx="4104457" cy="287845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pic>
        <p:nvPicPr>
          <p:cNvPr id="5" name="Picture 5" descr="C:\Users\Лукьянов\Desktop\Бережливое производство\подготовка к проверке по образцу\IMG-20210318-WA0049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3931" y="3861048"/>
            <a:ext cx="3455988" cy="259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0" t="33201"/>
          <a:stretch/>
        </p:blipFill>
        <p:spPr>
          <a:xfrm>
            <a:off x="5041982" y="1700808"/>
            <a:ext cx="4037937" cy="2014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43953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B148DC-A899-4108-80E1-A8AA8154927C}" type="slidenum">
              <a:rPr lang="ru-RU" smtClean="0">
                <a:solidFill>
                  <a:srgbClr val="0D6186"/>
                </a:solidFill>
              </a:rPr>
              <a:pPr>
                <a:defRPr/>
              </a:pPr>
              <a:t>33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080792" y="3068960"/>
            <a:ext cx="405790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!</a:t>
            </a:r>
            <a:endParaRPr lang="ru-RU" sz="3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6496" y="116632"/>
            <a:ext cx="7385392" cy="738664"/>
          </a:xfrm>
        </p:spPr>
        <p:txBody>
          <a:bodyPr/>
          <a:lstStyle/>
          <a:p>
            <a:pPr algn="ctr"/>
            <a:r>
              <a:rPr lang="ru-RU" altLang="ru-RU" sz="240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Корректное определение улучшаемого </a:t>
            </a:r>
            <a:br>
              <a:rPr lang="ru-RU" altLang="ru-RU" sz="240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ru-RU" altLang="ru-RU" sz="240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процесса и его границ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8464" y="162798"/>
            <a:ext cx="82586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b="1" dirty="0" smtClean="0">
                <a:solidFill>
                  <a:schemeClr val="accent1"/>
                </a:solidFill>
              </a:rPr>
              <a:t>М2</a:t>
            </a:r>
            <a:endParaRPr lang="ru-RU" sz="32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l="36086" t="19486" r="11790" b="44874"/>
          <a:stretch/>
        </p:blipFill>
        <p:spPr>
          <a:xfrm>
            <a:off x="344488" y="1268760"/>
            <a:ext cx="8050494" cy="3096344"/>
          </a:xfrm>
          <a:prstGeom prst="rect">
            <a:avLst/>
          </a:prstGeom>
        </p:spPr>
      </p:pic>
      <p:sp>
        <p:nvSpPr>
          <p:cNvPr id="5" name="Скругленный прямоугольник 4"/>
          <p:cNvSpPr/>
          <p:nvPr/>
        </p:nvSpPr>
        <p:spPr>
          <a:xfrm>
            <a:off x="416496" y="2924944"/>
            <a:ext cx="2376264" cy="648072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63" t="4851" r="34735" b="18500"/>
          <a:stretch/>
        </p:blipFill>
        <p:spPr>
          <a:xfrm>
            <a:off x="3800872" y="1772816"/>
            <a:ext cx="5194709" cy="4752528"/>
          </a:xfrm>
          <a:prstGeom prst="rect">
            <a:avLst/>
          </a:prstGeom>
        </p:spPr>
      </p:pic>
      <p:cxnSp>
        <p:nvCxnSpPr>
          <p:cNvPr id="9" name="Прямая со стрелкой 8"/>
          <p:cNvCxnSpPr>
            <a:stCxn id="5" idx="3"/>
          </p:cNvCxnSpPr>
          <p:nvPr/>
        </p:nvCxnSpPr>
        <p:spPr>
          <a:xfrm flipV="1">
            <a:off x="2792760" y="2816932"/>
            <a:ext cx="1152128" cy="432048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/>
          <p:cNvCxnSpPr>
            <a:stCxn id="5" idx="3"/>
          </p:cNvCxnSpPr>
          <p:nvPr/>
        </p:nvCxnSpPr>
        <p:spPr>
          <a:xfrm>
            <a:off x="2792760" y="3248980"/>
            <a:ext cx="1152128" cy="2916324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8448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0728"/>
            <a:ext cx="10297144" cy="7128792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2480" y="116632"/>
            <a:ext cx="7385392" cy="1061060"/>
          </a:xfrm>
        </p:spPr>
        <p:txBody>
          <a:bodyPr/>
          <a:lstStyle/>
          <a:p>
            <a:pPr algn="ctr"/>
            <a: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Обоснование зачем и почему важна </a:t>
            </a:r>
            <a:r>
              <a:rPr lang="ru-RU" altLang="ru-RU" sz="2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/>
            </a:r>
            <a:br>
              <a:rPr lang="ru-RU" altLang="ru-RU" sz="2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ru-RU" altLang="ru-RU" sz="2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реализация </a:t>
            </a:r>
            <a: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проекта</a:t>
            </a:r>
            <a:b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8464" y="162798"/>
            <a:ext cx="82586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b="1" dirty="0" smtClean="0">
                <a:solidFill>
                  <a:schemeClr val="accent1"/>
                </a:solidFill>
              </a:rPr>
              <a:t>М3</a:t>
            </a:r>
            <a:endParaRPr lang="ru-RU" sz="3200" b="1" dirty="0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5025008" y="2276872"/>
            <a:ext cx="4752528" cy="2664296"/>
          </a:xfrm>
          <a:prstGeom prst="roundRect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219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8544" y="116632"/>
            <a:ext cx="7385392" cy="937949"/>
          </a:xfrm>
        </p:spPr>
        <p:txBody>
          <a:bodyPr/>
          <a:lstStyle/>
          <a:p>
            <a:pPr algn="ctr"/>
            <a:r>
              <a:rPr lang="ru-RU" altLang="ru-RU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Цели проектов определены корректно, </a:t>
            </a:r>
            <a:r>
              <a:rPr lang="ru-RU" altLang="ru-RU" sz="20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/>
            </a:r>
            <a:br>
              <a:rPr lang="ru-RU" altLang="ru-RU" sz="20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ru-RU" altLang="ru-RU" sz="20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измеримы </a:t>
            </a:r>
            <a:r>
              <a:rPr lang="ru-RU" altLang="ru-RU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и отвечают обоснованию проекта</a:t>
            </a:r>
            <a:br>
              <a:rPr lang="ru-RU" altLang="ru-RU" sz="2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8464" y="162798"/>
            <a:ext cx="82586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b="1" dirty="0" smtClean="0">
                <a:solidFill>
                  <a:schemeClr val="accent1"/>
                </a:solidFill>
              </a:rPr>
              <a:t>М4</a:t>
            </a:r>
            <a:endParaRPr lang="ru-RU" sz="32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488" y="1054581"/>
            <a:ext cx="8136904" cy="5633241"/>
          </a:xfrm>
          <a:prstGeom prst="rect">
            <a:avLst/>
          </a:prstGeom>
        </p:spPr>
      </p:pic>
      <p:sp>
        <p:nvSpPr>
          <p:cNvPr id="5" name="Скругленный прямоугольник 4"/>
          <p:cNvSpPr/>
          <p:nvPr/>
        </p:nvSpPr>
        <p:spPr>
          <a:xfrm>
            <a:off x="541397" y="4221088"/>
            <a:ext cx="3619515" cy="2376264"/>
          </a:xfrm>
          <a:prstGeom prst="roundRect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4376936" y="2132856"/>
            <a:ext cx="3672408" cy="2088232"/>
          </a:xfrm>
          <a:prstGeom prst="roundRect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cxnSp>
        <p:nvCxnSpPr>
          <p:cNvPr id="8" name="Прямая со стрелкой 7"/>
          <p:cNvCxnSpPr/>
          <p:nvPr/>
        </p:nvCxnSpPr>
        <p:spPr>
          <a:xfrm flipV="1">
            <a:off x="4160912" y="4130620"/>
            <a:ext cx="380328" cy="52251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44275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92560" y="116632"/>
            <a:ext cx="7385392" cy="738664"/>
          </a:xfrm>
        </p:spPr>
        <p:txBody>
          <a:bodyPr/>
          <a:lstStyle/>
          <a:p>
            <a:pPr algn="ctr"/>
            <a:r>
              <a:rPr lang="ru-RU" altLang="ru-RU" sz="2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Паспорт проекта утвержден</a:t>
            </a:r>
            <a:br>
              <a:rPr lang="ru-RU" altLang="ru-RU" sz="2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ru-RU" altLang="ru-RU" sz="24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  <a:r>
              <a:rPr lang="ru-RU" alt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на соответствующем уровне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8464" y="162798"/>
            <a:ext cx="82586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b="1" dirty="0" smtClean="0">
                <a:solidFill>
                  <a:schemeClr val="accent1"/>
                </a:solidFill>
              </a:rPr>
              <a:t>М5</a:t>
            </a:r>
            <a:endParaRPr lang="ru-RU" sz="32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990246" y="136529"/>
            <a:ext cx="5555383" cy="762721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val="32614366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1397" y="332656"/>
            <a:ext cx="7385392" cy="691728"/>
          </a:xfrm>
        </p:spPr>
        <p:txBody>
          <a:bodyPr/>
          <a:lstStyle/>
          <a:p>
            <a:pPr algn="ctr"/>
            <a:r>
              <a:rPr 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Личный проект директора</a:t>
            </a:r>
            <a:br>
              <a:rPr lang="ru-RU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8464" y="162798"/>
            <a:ext cx="82586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b="1" dirty="0" smtClean="0">
                <a:solidFill>
                  <a:schemeClr val="accent1"/>
                </a:solidFill>
              </a:rPr>
              <a:t>М6</a:t>
            </a:r>
            <a:endParaRPr lang="ru-RU" sz="32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2" t="2168" r="21270" b="18325"/>
          <a:stretch/>
        </p:blipFill>
        <p:spPr>
          <a:xfrm>
            <a:off x="2216696" y="1223174"/>
            <a:ext cx="8466190" cy="5950242"/>
          </a:xfrm>
          <a:prstGeom prst="rect">
            <a:avLst/>
          </a:prstGeom>
        </p:spPr>
      </p:pic>
      <p:pic>
        <p:nvPicPr>
          <p:cNvPr id="5" name="Picture 2" descr="http://xn--8-0tb4a.xn--p1ai/images/photos/Adm/directo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3" y="1223174"/>
            <a:ext cx="1728192" cy="2310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Стрелка вправо 7"/>
          <p:cNvSpPr/>
          <p:nvPr/>
        </p:nvSpPr>
        <p:spPr>
          <a:xfrm>
            <a:off x="948408" y="4019360"/>
            <a:ext cx="1412304" cy="330507"/>
          </a:xfrm>
          <a:prstGeom prst="rightArrow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432720" y="4019360"/>
            <a:ext cx="4896544" cy="345743"/>
          </a:xfrm>
          <a:prstGeom prst="roundRect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94437" y="3527010"/>
            <a:ext cx="1778244" cy="386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кульбеда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Е.П.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97415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Визуализация проекта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8464" y="162798"/>
            <a:ext cx="82586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b="1" dirty="0" smtClean="0">
                <a:solidFill>
                  <a:schemeClr val="accent1"/>
                </a:solidFill>
              </a:rPr>
              <a:t>М7</a:t>
            </a:r>
            <a:endParaRPr lang="ru-RU" sz="32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34" y="1489490"/>
            <a:ext cx="3351332" cy="2513499"/>
          </a:xfrm>
          <a:prstGeom prst="rect">
            <a:avLst/>
          </a:prstGeom>
        </p:spPr>
      </p:pic>
      <p:pic>
        <p:nvPicPr>
          <p:cNvPr id="56322" name="Picture 2" descr="https://lh3.googleusercontent.com/o00BQyNY5moFQuDRTx6o_wIkqDsrKwi2H1NggBsB-gA8zgIabs5T_mJLmSot2u7XFFRniD-94AzNOiipU63UUwbpLrZbAhSODh4BT_We5Yp-yImJ86nTeWaoyh9eulw-Sm5B6fwQjutHJyW_cZoCvngwfI4OSPuqvEKwssETONh2f1rEfEe8_699ZhblBgQRwDufeMmJXbT2hGNgPw_7UAp40MnmhH19LwYnIuvouzZO-PziGT2nuuLuyRON0qEmle6hFHpHG1mTmhCdQ2ePRB8OFaPCQedYEKOAGo5cnvLYR7658uHPnOo6V2UG71aul3_iH3O12X8msxoe68KyeULUPPcIWVEwtgnAFYFhvf08sVANWcPgO6z0HUvXgaIXVsa_9gMya0devjd-eWeVgB-43yfZJW_n6Se8M0lvFlB3-Hpqas4WISkAarQv0fxuPQJKq9UP3P7xZywpRCtqYlO0stA-dTbFFI6aBkgX3nemjtYNrwfuJXx1WJJKn_rbVRNfSd06u9kUsk73b8BpUexUgZrZuRQnUtPBD_dqhUsd4jLQz-KSr6nT-i0bjax-bvCr2PtCfZbNuwk5JAQZr60N2XXoH9DqiNoFJUnVsYv8KG7NFqigEeBScBbESbpPHTrtNkSlI0wcONv7RlAYHi3Rflbxl6niGGWtVmA2EsuoqAI0q_KIc4d3rqJQtAosXkC2BlMrnywmcwoxEOTK30Z1=w365-h790-no?authuser=0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14" t="14354" r="6795" b="22488"/>
          <a:stretch/>
        </p:blipFill>
        <p:spPr bwMode="auto">
          <a:xfrm>
            <a:off x="4520952" y="1196752"/>
            <a:ext cx="3528392" cy="5544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59566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0.Np9FKkiACmG8RcJqs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pyyPOQ0Gf0MTzrYJs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3SYCTaUKOnjZRTBQy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2YTtzw0aExVOQhGcy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89GHJXEu2ccsW_oni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E4sw5UU6VWVXbqpUf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JsoJjB0COR7VSmvrR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IakPhT0KS.Bn1qDzPb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IakPhT0KS.Bn1qDzPb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4MqGwvUCr2WSBvW8yx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4MqGwvUCr2WSBvW8yx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0.Np9FKkiACmG8RcJqs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pyyPOQ0Gf0MTzrYJs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3SYCTaUKOnjZRTBQyn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2YTtzw0aExVOQhGcyw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89GHJXEu2ccsW_onis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E4sw5UU6VWVXbqpUfh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JsoJjB0COR7VSmvrRn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heme/theme1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7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8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-default">
  <a:themeElements>
    <a:clrScheme name="Custom 2">
      <a:dk1>
        <a:srgbClr val="414142"/>
      </a:dk1>
      <a:lt1>
        <a:srgbClr val="FFFFFF"/>
      </a:lt1>
      <a:dk2>
        <a:srgbClr val="08486B"/>
      </a:dk2>
      <a:lt2>
        <a:srgbClr val="808080"/>
      </a:lt2>
      <a:accent1>
        <a:srgbClr val="F37D07"/>
      </a:accent1>
      <a:accent2>
        <a:srgbClr val="0D6186"/>
      </a:accent2>
      <a:accent3>
        <a:srgbClr val="90CDD7"/>
      </a:accent3>
      <a:accent4>
        <a:srgbClr val="0F7C9C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Office Classic 2">
      <a:majorFont>
        <a:latin typeface="Microsoft Sans Serif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icrosoft Sans Serif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Mod val="40000"/>
            <a:lumOff val="60000"/>
          </a:schemeClr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rgbClr val="08486B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корпоративной презентации  PowerPoint без надстройки</Template>
  <TotalTime>25789</TotalTime>
  <Words>674</Words>
  <Application>Microsoft Office PowerPoint</Application>
  <PresentationFormat>Лист A4 (210x297 мм)</PresentationFormat>
  <Paragraphs>212</Paragraphs>
  <Slides>3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3</vt:i4>
      </vt:variant>
    </vt:vector>
  </HeadingPairs>
  <TitlesOfParts>
    <vt:vector size="55" baseType="lpstr">
      <vt:lpstr>Arial Unicode MS</vt:lpstr>
      <vt:lpstr>MS PGothic</vt:lpstr>
      <vt:lpstr>Arial</vt:lpstr>
      <vt:lpstr>Calibri</vt:lpstr>
      <vt:lpstr>Microsoft Sans Serif</vt:lpstr>
      <vt:lpstr>Times New Roman</vt:lpstr>
      <vt:lpstr>Wingdings</vt:lpstr>
      <vt:lpstr>Специальное оформление</vt:lpstr>
      <vt:lpstr>b-default</vt:lpstr>
      <vt:lpstr>Firm Format - Russian</vt:lpstr>
      <vt:lpstr>1_Firm Format - Russian</vt:lpstr>
      <vt:lpstr>1_b-default</vt:lpstr>
      <vt:lpstr>2_b-default</vt:lpstr>
      <vt:lpstr>3_b-default</vt:lpstr>
      <vt:lpstr>4_b-default</vt:lpstr>
      <vt:lpstr>5_b-default</vt:lpstr>
      <vt:lpstr>6_b-default</vt:lpstr>
      <vt:lpstr>7_b-default</vt:lpstr>
      <vt:lpstr>8_b-default</vt:lpstr>
      <vt:lpstr>9_b-default</vt:lpstr>
      <vt:lpstr>10_b-default</vt:lpstr>
      <vt:lpstr>think-cell Slide</vt:lpstr>
      <vt:lpstr>Презентация PowerPoint</vt:lpstr>
      <vt:lpstr>Управление проектами улучшений</vt:lpstr>
      <vt:lpstr>М1</vt:lpstr>
      <vt:lpstr>Корректное определение улучшаемого  процесса и его границ</vt:lpstr>
      <vt:lpstr>Обоснование зачем и почему важна  реализация проекта </vt:lpstr>
      <vt:lpstr>Цели проектов определены корректно,  измеримы и отвечают обоснованию проекта </vt:lpstr>
      <vt:lpstr>Паспорт проекта утвержден  на соответствующем уровне</vt:lpstr>
      <vt:lpstr>Личный проект директора </vt:lpstr>
      <vt:lpstr>Визуализация проекта</vt:lpstr>
      <vt:lpstr>Построена карта ПСЦ текущего состояния</vt:lpstr>
      <vt:lpstr>Построена карта ПСЦ целевого состояния</vt:lpstr>
      <vt:lpstr>Выявленные проблемы идентифицированы на картах текущего и целевого состояний</vt:lpstr>
      <vt:lpstr>Вовлечение, обучение, мотивация персонала</vt:lpstr>
      <vt:lpstr>Обучение базовым методам  «бережливого производства» </vt:lpstr>
      <vt:lpstr>ППУ – предложения по улучшениям</vt:lpstr>
      <vt:lpstr>Презентация PowerPoint</vt:lpstr>
      <vt:lpstr>При проведении обучения «на площадке» соблюдаются требования безопасности </vt:lpstr>
      <vt:lpstr>Визуализация по бережливому производству в помещениях</vt:lpstr>
      <vt:lpstr>Презентация PowerPoint</vt:lpstr>
      <vt:lpstr>Размещение актуальной информации по бережливому проектированию на сайте школы</vt:lpstr>
      <vt:lpstr>Практика поощрения за реализацию проектов</vt:lpstr>
      <vt:lpstr>Готовность к тиражированию</vt:lpstr>
      <vt:lpstr>Информационное сопровождение</vt:lpstr>
      <vt:lpstr>Процессы типизированы, стандартизированы  и пригодны к тиражу</vt:lpstr>
      <vt:lpstr>Мотивированный и подготовленный  для передачи опыта сотрудник</vt:lpstr>
      <vt:lpstr>Пакет методических материалов</vt:lpstr>
      <vt:lpstr>Реализованный проект</vt:lpstr>
      <vt:lpstr>В общем доступе на сайте школы размещены Методические рекомендации</vt:lpstr>
      <vt:lpstr>Видео- и фотоматериалы, иллюстрирующие лучшие практики образца</vt:lpstr>
      <vt:lpstr>Передача опыта (тиражирование)</vt:lpstr>
      <vt:lpstr>Передача опыта  (обучение специалистов разных сфер деятельности)</vt:lpstr>
      <vt:lpstr>Результаты проектов докладывались на  I Региональном форуме «Эффективный регион» (18 марта 2021 г.)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exander V. Romashkin</dc:creator>
  <cp:lastModifiedBy>Пользователь Windows</cp:lastModifiedBy>
  <cp:revision>1653</cp:revision>
  <cp:lastPrinted>2017-10-20T09:24:23Z</cp:lastPrinted>
  <dcterms:created xsi:type="dcterms:W3CDTF">2015-03-06T06:22:34Z</dcterms:created>
  <dcterms:modified xsi:type="dcterms:W3CDTF">2021-11-29T11:00:03Z</dcterms:modified>
</cp:coreProperties>
</file>